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4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1.xml" ContentType="application/vnd.openxmlformats-officedocument.presentationml.tags+xml"/>
  <Override PartName="/ppt/notesSlides/notesSlide7.xml" ContentType="application/vnd.openxmlformats-officedocument.presentationml.notesSlide+xml"/>
  <Override PartName="/ppt/tags/tag22.xml" ContentType="application/vnd.openxmlformats-officedocument.presentationml.tags+xml"/>
  <Override PartName="/ppt/notesSlides/notesSlide8.xml" ContentType="application/vnd.openxmlformats-officedocument.presentationml.notesSlide+xml"/>
  <Override PartName="/ppt/tags/tag23.xml" ContentType="application/vnd.openxmlformats-officedocument.presentationml.tags+xml"/>
  <Override PartName="/ppt/notesSlides/notesSlide9.xml" ContentType="application/vnd.openxmlformats-officedocument.presentationml.notesSlide+xml"/>
  <Override PartName="/ppt/tags/tag24.xml" ContentType="application/vnd.openxmlformats-officedocument.presentationml.tags+xml"/>
  <Override PartName="/ppt/notesSlides/notesSlide10.xml" ContentType="application/vnd.openxmlformats-officedocument.presentationml.notesSlide+xml"/>
  <Override PartName="/ppt/tags/tag25.xml" ContentType="application/vnd.openxmlformats-officedocument.presentationml.tags+xml"/>
  <Override PartName="/ppt/notesSlides/notesSlide11.xml" ContentType="application/vnd.openxmlformats-officedocument.presentationml.notesSlide+xml"/>
  <Override PartName="/ppt/tags/tag26.xml" ContentType="application/vnd.openxmlformats-officedocument.presentationml.tags+xml"/>
  <Override PartName="/ppt/notesSlides/notesSlide12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3.xml" ContentType="application/vnd.openxmlformats-officedocument.presentationml.notesSlide+xml"/>
  <Override PartName="/ppt/tags/tag31.xml" ContentType="application/vnd.openxmlformats-officedocument.presentationml.tags+xml"/>
  <Override PartName="/ppt/notesSlides/notesSlide14.xml" ContentType="application/vnd.openxmlformats-officedocument.presentationml.notesSlide+xml"/>
  <Override PartName="/ppt/tags/tag32.xml" ContentType="application/vnd.openxmlformats-officedocument.presentationml.tags+xml"/>
  <Override PartName="/ppt/notesSlides/notesSlide15.xml" ContentType="application/vnd.openxmlformats-officedocument.presentationml.notesSlide+xml"/>
  <Override PartName="/ppt/tags/tag33.xml" ContentType="application/vnd.openxmlformats-officedocument.presentationml.tags+xml"/>
  <Override PartName="/ppt/notesSlides/notesSlide16.xml" ContentType="application/vnd.openxmlformats-officedocument.presentationml.notesSlide+xml"/>
  <Override PartName="/ppt/tags/tag34.xml" ContentType="application/vnd.openxmlformats-officedocument.presentationml.tags+xml"/>
  <Override PartName="/ppt/notesSlides/notesSlide17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8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5"/>
    <p:sldMasterId id="2147483688" r:id="rId6"/>
    <p:sldMasterId id="2147483701" r:id="rId7"/>
  </p:sldMasterIdLst>
  <p:notesMasterIdLst>
    <p:notesMasterId r:id="rId36"/>
  </p:notesMasterIdLst>
  <p:sldIdLst>
    <p:sldId id="2145704718" r:id="rId8"/>
    <p:sldId id="4347" r:id="rId9"/>
    <p:sldId id="4349" r:id="rId10"/>
    <p:sldId id="4357" r:id="rId11"/>
    <p:sldId id="2145704706" r:id="rId12"/>
    <p:sldId id="4367" r:id="rId13"/>
    <p:sldId id="4361" r:id="rId14"/>
    <p:sldId id="4350" r:id="rId15"/>
    <p:sldId id="2145704707" r:id="rId16"/>
    <p:sldId id="4358" r:id="rId17"/>
    <p:sldId id="4362" r:id="rId18"/>
    <p:sldId id="4352" r:id="rId19"/>
    <p:sldId id="2145704708" r:id="rId20"/>
    <p:sldId id="4355" r:id="rId21"/>
    <p:sldId id="4364" r:id="rId22"/>
    <p:sldId id="4365" r:id="rId23"/>
    <p:sldId id="2145704710" r:id="rId24"/>
    <p:sldId id="4359" r:id="rId25"/>
    <p:sldId id="4368" r:id="rId26"/>
    <p:sldId id="2145704709" r:id="rId27"/>
    <p:sldId id="4353" r:id="rId28"/>
    <p:sldId id="2145704712" r:id="rId29"/>
    <p:sldId id="4363" r:id="rId30"/>
    <p:sldId id="2145704713" r:id="rId31"/>
    <p:sldId id="2145704714" r:id="rId32"/>
    <p:sldId id="2145704715" r:id="rId33"/>
    <p:sldId id="2145704716" r:id="rId34"/>
    <p:sldId id="2145704717" r:id="rId35"/>
  </p:sldIdLst>
  <p:sldSz cx="12192000" cy="6858000"/>
  <p:notesSz cx="6858000" cy="9144000"/>
  <p:custDataLst>
    <p:tags r:id="rId3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641430B-19C4-79B1-E62B-D1A6EE0B05D3}" name="Lena Andrade" initials="LA" userId="S::lena.andrade@ncosc.gov::66f130b5-8f6a-4cce-94d9-10c7f9b5d180" providerId="AD"/>
  <p188:author id="{C218A627-5283-A4F2-9910-44B59D99441F}" name="Frank Newsom" initials="FN" userId="S::frank.newsom@ncosc.gov::ad68d3cd-c08c-4937-a778-120681219286" providerId="AD"/>
  <p188:author id="{23F33246-ECC7-C865-68FE-E434F8A3A64D}" name="Taylor Brumbeloe" initials="TB" userId="S::taylor.brumbeloe@ncosc.gov::99848075-0e08-4b90-82f6-9f892778f08b" providerId="AD"/>
  <p188:author id="{192D196E-ECE6-4E6E-86A1-64861800E523}" name="Frank Newsom" initials="FN" userId="S::Frank.Newsom@ncosc.gov::ad68d3cd-c08c-4937-a778-120681219286" providerId="AD"/>
  <p188:author id="{2DE5A0C3-580F-2F34-7396-755BB9138AE9}" name="Jan Prevo" initials="JP" userId="S::Jan.Prevo@ncosc.gov::a97f2b47-fee0-4f84-a663-b1d45b4d0254" providerId="AD"/>
  <p188:author id="{9C9466CA-2685-3DBB-8AFE-3ED4F8D16A76}" name="Laura Lee" initials="LL" userId="S::Laura.Lee@ncosc.gov::3ca4bf71-309b-40f8-91fc-8d2ab8f2c4fc" providerId="AD"/>
  <p188:author id="{D0C2BECF-410D-4987-EAEF-28990FD44FF9}" name="Newsom, Frank" initials="NF" userId="S::Frank.Newsom@osc.nc.gov::43263cff-9d6c-4aab-839d-9e2757de01af" providerId="AD"/>
  <p188:author id="{1F223AF6-030B-9F69-965C-2378D7A04DE3}" name="Lena Andrade" initials="LA" userId="S::Lena.Andrade@ncosc.gov::66f130b5-8f6a-4cce-94d9-10c7f9b5d180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loyd, David R" initials="LDR" lastIdx="23" clrIdx="0">
    <p:extLst>
      <p:ext uri="{19B8F6BF-5375-455C-9EA6-DF929625EA0E}">
        <p15:presenceInfo xmlns:p15="http://schemas.microsoft.com/office/powerpoint/2012/main" userId="Lloyd, David 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E328B"/>
    <a:srgbClr val="F7F7F7"/>
    <a:srgbClr val="F8F8F8"/>
    <a:srgbClr val="F2F0EE"/>
    <a:srgbClr val="EAE5E2"/>
    <a:srgbClr val="DED5D0"/>
    <a:srgbClr val="232B7C"/>
    <a:srgbClr val="0033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97293E0-7D24-42FC-A7E3-3868EAD73A10}" v="380" dt="2026-02-12T21:17:38.32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91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presProps" Target="presProps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tableStyles" Target="tableStyles.xml"/><Relationship Id="rId7" Type="http://schemas.openxmlformats.org/officeDocument/2006/relationships/slideMaster" Target="slideMasters/slideMaster3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tags" Target="tags/tag1.xml"/><Relationship Id="rId40" Type="http://schemas.openxmlformats.org/officeDocument/2006/relationships/viewProps" Target="viewProps.xml"/><Relationship Id="rId45" Type="http://schemas.microsoft.com/office/2018/10/relationships/authors" Target="author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microsoft.com/office/2015/10/relationships/revisionInfo" Target="revisionInfo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microsoft.com/office/2016/11/relationships/changesInfo" Target="changesInfos/changesInfo1.xml"/><Relationship Id="rId8" Type="http://schemas.openxmlformats.org/officeDocument/2006/relationships/slide" Target="slides/slide1.xml"/><Relationship Id="rId3" Type="http://schemas.openxmlformats.org/officeDocument/2006/relationships/customXml" Target="../customXml/item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commentAuthors" Target="commentAuthors.xml"/><Relationship Id="rId20" Type="http://schemas.openxmlformats.org/officeDocument/2006/relationships/slide" Target="slides/slide13.xml"/><Relationship Id="rId41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pril Durrence" userId="2314a7d0-99d3-4144-8a7f-648170c8b7b7" providerId="ADAL" clId="{EAE80DB9-CB43-4440-9E5C-0B0573E509B3}"/>
    <pc:docChg chg="undo redo custSel addSld delSld modSld delMainMaster modMainMaster">
      <pc:chgData name="April Durrence" userId="2314a7d0-99d3-4144-8a7f-648170c8b7b7" providerId="ADAL" clId="{EAE80DB9-CB43-4440-9E5C-0B0573E509B3}" dt="2026-02-12T21:21:52.703" v="2859" actId="962"/>
      <pc:docMkLst>
        <pc:docMk/>
      </pc:docMkLst>
      <pc:sldChg chg="addSp delSp modSp mod">
        <pc:chgData name="April Durrence" userId="2314a7d0-99d3-4144-8a7f-648170c8b7b7" providerId="ADAL" clId="{EAE80DB9-CB43-4440-9E5C-0B0573E509B3}" dt="2026-02-10T21:38:39.046" v="1095" actId="207"/>
        <pc:sldMkLst>
          <pc:docMk/>
          <pc:sldMk cId="3845699481" sldId="4347"/>
        </pc:sldMkLst>
        <pc:spChg chg="mod ord">
          <ac:chgData name="April Durrence" userId="2314a7d0-99d3-4144-8a7f-648170c8b7b7" providerId="ADAL" clId="{EAE80DB9-CB43-4440-9E5C-0B0573E509B3}" dt="2026-02-10T21:07:01.055" v="284" actId="13244"/>
          <ac:spMkLst>
            <pc:docMk/>
            <pc:sldMk cId="3845699481" sldId="4347"/>
            <ac:spMk id="4" creationId="{F6984349-060F-D228-98FD-7E71A7E0EAF4}"/>
          </ac:spMkLst>
        </pc:spChg>
        <pc:spChg chg="mod">
          <ac:chgData name="April Durrence" userId="2314a7d0-99d3-4144-8a7f-648170c8b7b7" providerId="ADAL" clId="{EAE80DB9-CB43-4440-9E5C-0B0573E509B3}" dt="2026-02-10T21:38:39.046" v="1095" actId="207"/>
          <ac:spMkLst>
            <pc:docMk/>
            <pc:sldMk cId="3845699481" sldId="4347"/>
            <ac:spMk id="6" creationId="{E8EA3CF6-BA14-8A7E-F620-A37BCC3CE249}"/>
          </ac:spMkLst>
        </pc:spChg>
        <pc:spChg chg="add mod">
          <ac:chgData name="April Durrence" userId="2314a7d0-99d3-4144-8a7f-648170c8b7b7" providerId="ADAL" clId="{EAE80DB9-CB43-4440-9E5C-0B0573E509B3}" dt="2026-02-10T21:07:21.110" v="286" actId="1076"/>
          <ac:spMkLst>
            <pc:docMk/>
            <pc:sldMk cId="3845699481" sldId="4347"/>
            <ac:spMk id="7" creationId="{29D8118E-88B1-5F13-6360-C6255F1FCA00}"/>
          </ac:spMkLst>
        </pc:spChg>
      </pc:sldChg>
      <pc:sldChg chg="addSp delSp modSp mod">
        <pc:chgData name="April Durrence" userId="2314a7d0-99d3-4144-8a7f-648170c8b7b7" providerId="ADAL" clId="{EAE80DB9-CB43-4440-9E5C-0B0573E509B3}" dt="2026-02-10T22:23:24.016" v="2194" actId="13244"/>
        <pc:sldMkLst>
          <pc:docMk/>
          <pc:sldMk cId="1744654685" sldId="4349"/>
        </pc:sldMkLst>
        <pc:spChg chg="mod">
          <ac:chgData name="April Durrence" userId="2314a7d0-99d3-4144-8a7f-648170c8b7b7" providerId="ADAL" clId="{EAE80DB9-CB43-4440-9E5C-0B0573E509B3}" dt="2026-02-10T21:07:30.803" v="287" actId="962"/>
          <ac:spMkLst>
            <pc:docMk/>
            <pc:sldMk cId="1744654685" sldId="4349"/>
            <ac:spMk id="3" creationId="{B51F7E04-ED77-6419-BD6D-C6F2B838D0C2}"/>
          </ac:spMkLst>
        </pc:spChg>
        <pc:spChg chg="add mod ord">
          <ac:chgData name="April Durrence" userId="2314a7d0-99d3-4144-8a7f-648170c8b7b7" providerId="ADAL" clId="{EAE80DB9-CB43-4440-9E5C-0B0573E509B3}" dt="2026-02-10T22:23:24.016" v="2194" actId="13244"/>
          <ac:spMkLst>
            <pc:docMk/>
            <pc:sldMk cId="1744654685" sldId="4349"/>
            <ac:spMk id="7" creationId="{B2A745E3-9BC7-B091-0D6D-EA3A934E5F32}"/>
          </ac:spMkLst>
        </pc:spChg>
        <pc:picChg chg="mod">
          <ac:chgData name="April Durrence" userId="2314a7d0-99d3-4144-8a7f-648170c8b7b7" providerId="ADAL" clId="{EAE80DB9-CB43-4440-9E5C-0B0573E509B3}" dt="2026-02-10T20:48:04.813" v="9" actId="962"/>
          <ac:picMkLst>
            <pc:docMk/>
            <pc:sldMk cId="1744654685" sldId="4349"/>
            <ac:picMk id="6" creationId="{526A0B30-A581-349A-8B40-94FA8B0BE483}"/>
          </ac:picMkLst>
        </pc:picChg>
      </pc:sldChg>
      <pc:sldChg chg="addSp delSp modSp mod">
        <pc:chgData name="April Durrence" userId="2314a7d0-99d3-4144-8a7f-648170c8b7b7" providerId="ADAL" clId="{EAE80DB9-CB43-4440-9E5C-0B0573E509B3}" dt="2026-02-12T19:23:41.415" v="2326" actId="207"/>
        <pc:sldMkLst>
          <pc:docMk/>
          <pc:sldMk cId="4126931028" sldId="4350"/>
        </pc:sldMkLst>
        <pc:spChg chg="mod">
          <ac:chgData name="April Durrence" userId="2314a7d0-99d3-4144-8a7f-648170c8b7b7" providerId="ADAL" clId="{EAE80DB9-CB43-4440-9E5C-0B0573E509B3}" dt="2026-02-10T21:44:46.580" v="1139" actId="207"/>
          <ac:spMkLst>
            <pc:docMk/>
            <pc:sldMk cId="4126931028" sldId="4350"/>
            <ac:spMk id="2" creationId="{F1F2087C-A882-5346-164F-3C31CF64DFB7}"/>
          </ac:spMkLst>
        </pc:spChg>
        <pc:spChg chg="mod ord">
          <ac:chgData name="April Durrence" userId="2314a7d0-99d3-4144-8a7f-648170c8b7b7" providerId="ADAL" clId="{EAE80DB9-CB43-4440-9E5C-0B0573E509B3}" dt="2026-02-10T21:17:27.085" v="327" actId="13244"/>
          <ac:spMkLst>
            <pc:docMk/>
            <pc:sldMk cId="4126931028" sldId="4350"/>
            <ac:spMk id="3" creationId="{F6722E56-946B-EF1F-CDFA-6C4998B5C6F0}"/>
          </ac:spMkLst>
        </pc:spChg>
        <pc:spChg chg="add mod ord">
          <ac:chgData name="April Durrence" userId="2314a7d0-99d3-4144-8a7f-648170c8b7b7" providerId="ADAL" clId="{EAE80DB9-CB43-4440-9E5C-0B0573E509B3}" dt="2026-02-12T19:23:41.415" v="2326" actId="207"/>
          <ac:spMkLst>
            <pc:docMk/>
            <pc:sldMk cId="4126931028" sldId="4350"/>
            <ac:spMk id="4" creationId="{00F8CA58-54C6-970A-0AE8-56A6A843BAFD}"/>
          </ac:spMkLst>
        </pc:spChg>
        <pc:graphicFrameChg chg="add del mod ord modGraphic">
          <ac:chgData name="April Durrence" userId="2314a7d0-99d3-4144-8a7f-648170c8b7b7" providerId="ADAL" clId="{EAE80DB9-CB43-4440-9E5C-0B0573E509B3}" dt="2026-02-12T19:21:32.126" v="2258" actId="478"/>
          <ac:graphicFrameMkLst>
            <pc:docMk/>
            <pc:sldMk cId="4126931028" sldId="4350"/>
            <ac:graphicFrameMk id="7" creationId="{C550451F-1168-BB78-9FBC-95C2DD058B6D}"/>
          </ac:graphicFrameMkLst>
        </pc:graphicFrameChg>
        <pc:picChg chg="del mod">
          <ac:chgData name="April Durrence" userId="2314a7d0-99d3-4144-8a7f-648170c8b7b7" providerId="ADAL" clId="{EAE80DB9-CB43-4440-9E5C-0B0573E509B3}" dt="2026-02-12T19:21:34.427" v="2259" actId="478"/>
          <ac:picMkLst>
            <pc:docMk/>
            <pc:sldMk cId="4126931028" sldId="4350"/>
            <ac:picMk id="6" creationId="{2F8A918B-6FE1-B17C-0541-6A16A72E0399}"/>
          </ac:picMkLst>
        </pc:picChg>
      </pc:sldChg>
      <pc:sldChg chg="modSp mod">
        <pc:chgData name="April Durrence" userId="2314a7d0-99d3-4144-8a7f-648170c8b7b7" providerId="ADAL" clId="{EAE80DB9-CB43-4440-9E5C-0B0573E509B3}" dt="2026-02-12T20:34:56.012" v="2438" actId="962"/>
        <pc:sldMkLst>
          <pc:docMk/>
          <pc:sldMk cId="2946020307" sldId="4352"/>
        </pc:sldMkLst>
        <pc:spChg chg="mod">
          <ac:chgData name="April Durrence" userId="2314a7d0-99d3-4144-8a7f-648170c8b7b7" providerId="ADAL" clId="{EAE80DB9-CB43-4440-9E5C-0B0573E509B3}" dt="2026-02-10T21:45:30.445" v="1144" actId="207"/>
          <ac:spMkLst>
            <pc:docMk/>
            <pc:sldMk cId="2946020307" sldId="4352"/>
            <ac:spMk id="2" creationId="{D2581725-251E-A85D-2D94-50A01DBF5575}"/>
          </ac:spMkLst>
        </pc:spChg>
        <pc:spChg chg="mod ord">
          <ac:chgData name="April Durrence" userId="2314a7d0-99d3-4144-8a7f-648170c8b7b7" providerId="ADAL" clId="{EAE80DB9-CB43-4440-9E5C-0B0573E509B3}" dt="2026-02-10T21:28:40.377" v="716" actId="13244"/>
          <ac:spMkLst>
            <pc:docMk/>
            <pc:sldMk cId="2946020307" sldId="4352"/>
            <ac:spMk id="3" creationId="{32D73CF9-245D-0C1E-405F-181D26DDF4C7}"/>
          </ac:spMkLst>
        </pc:spChg>
        <pc:spChg chg="mod">
          <ac:chgData name="April Durrence" userId="2314a7d0-99d3-4144-8a7f-648170c8b7b7" providerId="ADAL" clId="{EAE80DB9-CB43-4440-9E5C-0B0573E509B3}" dt="2026-02-10T21:29:22.736" v="719" actId="14100"/>
          <ac:spMkLst>
            <pc:docMk/>
            <pc:sldMk cId="2946020307" sldId="4352"/>
            <ac:spMk id="5" creationId="{397989BD-74B4-4B3C-BDF7-7D1EA435E442}"/>
          </ac:spMkLst>
        </pc:spChg>
        <pc:picChg chg="mod">
          <ac:chgData name="April Durrence" userId="2314a7d0-99d3-4144-8a7f-648170c8b7b7" providerId="ADAL" clId="{EAE80DB9-CB43-4440-9E5C-0B0573E509B3}" dt="2026-02-12T20:34:56.012" v="2438" actId="962"/>
          <ac:picMkLst>
            <pc:docMk/>
            <pc:sldMk cId="2946020307" sldId="4352"/>
            <ac:picMk id="11" creationId="{EA31B13A-BCB3-8E71-D218-4147D48DFEE9}"/>
          </ac:picMkLst>
        </pc:picChg>
      </pc:sldChg>
      <pc:sldChg chg="modSp mod">
        <pc:chgData name="April Durrence" userId="2314a7d0-99d3-4144-8a7f-648170c8b7b7" providerId="ADAL" clId="{EAE80DB9-CB43-4440-9E5C-0B0573E509B3}" dt="2026-02-10T22:08:33.030" v="1921" actId="13244"/>
        <pc:sldMkLst>
          <pc:docMk/>
          <pc:sldMk cId="2620713188" sldId="4353"/>
        </pc:sldMkLst>
        <pc:spChg chg="mod">
          <ac:chgData name="April Durrence" userId="2314a7d0-99d3-4144-8a7f-648170c8b7b7" providerId="ADAL" clId="{EAE80DB9-CB43-4440-9E5C-0B0573E509B3}" dt="2026-02-10T22:08:26.437" v="1919" actId="207"/>
          <ac:spMkLst>
            <pc:docMk/>
            <pc:sldMk cId="2620713188" sldId="4353"/>
            <ac:spMk id="2" creationId="{C43D4C9B-FEA2-D3AD-5698-991F49AB143D}"/>
          </ac:spMkLst>
        </pc:spChg>
        <pc:spChg chg="mod ord">
          <ac:chgData name="April Durrence" userId="2314a7d0-99d3-4144-8a7f-648170c8b7b7" providerId="ADAL" clId="{EAE80DB9-CB43-4440-9E5C-0B0573E509B3}" dt="2026-02-10T22:08:33.030" v="1921" actId="13244"/>
          <ac:spMkLst>
            <pc:docMk/>
            <pc:sldMk cId="2620713188" sldId="4353"/>
            <ac:spMk id="3" creationId="{5A3D91CF-BF08-8332-1B8C-F44DE84E321F}"/>
          </ac:spMkLst>
        </pc:spChg>
      </pc:sldChg>
      <pc:sldChg chg="modSp mod">
        <pc:chgData name="April Durrence" userId="2314a7d0-99d3-4144-8a7f-648170c8b7b7" providerId="ADAL" clId="{EAE80DB9-CB43-4440-9E5C-0B0573E509B3}" dt="2026-02-10T21:45:48.460" v="1147" actId="207"/>
        <pc:sldMkLst>
          <pc:docMk/>
          <pc:sldMk cId="439895174" sldId="4355"/>
        </pc:sldMkLst>
        <pc:spChg chg="mod">
          <ac:chgData name="April Durrence" userId="2314a7d0-99d3-4144-8a7f-648170c8b7b7" providerId="ADAL" clId="{EAE80DB9-CB43-4440-9E5C-0B0573E509B3}" dt="2026-02-10T21:45:48.460" v="1147" actId="207"/>
          <ac:spMkLst>
            <pc:docMk/>
            <pc:sldMk cId="439895174" sldId="4355"/>
            <ac:spMk id="2" creationId="{3099CF04-2139-E50F-FFEF-BA0A3C9D7E46}"/>
          </ac:spMkLst>
        </pc:spChg>
        <pc:spChg chg="mod ord">
          <ac:chgData name="April Durrence" userId="2314a7d0-99d3-4144-8a7f-648170c8b7b7" providerId="ADAL" clId="{EAE80DB9-CB43-4440-9E5C-0B0573E509B3}" dt="2026-02-10T21:33:28.792" v="1045" actId="13244"/>
          <ac:spMkLst>
            <pc:docMk/>
            <pc:sldMk cId="439895174" sldId="4355"/>
            <ac:spMk id="3" creationId="{19AC1B34-E25D-976F-363A-E03A0C816A2D}"/>
          </ac:spMkLst>
        </pc:spChg>
      </pc:sldChg>
      <pc:sldChg chg="addSp delSp modSp mod">
        <pc:chgData name="April Durrence" userId="2314a7d0-99d3-4144-8a7f-648170c8b7b7" providerId="ADAL" clId="{EAE80DB9-CB43-4440-9E5C-0B0573E509B3}" dt="2026-02-10T22:28:52.565" v="2242" actId="1076"/>
        <pc:sldMkLst>
          <pc:docMk/>
          <pc:sldMk cId="1979173307" sldId="4357"/>
        </pc:sldMkLst>
        <pc:spChg chg="mod ord">
          <ac:chgData name="April Durrence" userId="2314a7d0-99d3-4144-8a7f-648170c8b7b7" providerId="ADAL" clId="{EAE80DB9-CB43-4440-9E5C-0B0573E509B3}" dt="2026-02-10T22:26:25.293" v="2216" actId="13244"/>
          <ac:spMkLst>
            <pc:docMk/>
            <pc:sldMk cId="1979173307" sldId="4357"/>
            <ac:spMk id="2" creationId="{A78A275E-933A-4220-871D-088652DB6273}"/>
          </ac:spMkLst>
        </pc:spChg>
        <pc:spChg chg="mod topLvl">
          <ac:chgData name="April Durrence" userId="2314a7d0-99d3-4144-8a7f-648170c8b7b7" providerId="ADAL" clId="{EAE80DB9-CB43-4440-9E5C-0B0573E509B3}" dt="2026-02-10T22:28:14.597" v="2237" actId="1076"/>
          <ac:spMkLst>
            <pc:docMk/>
            <pc:sldMk cId="1979173307" sldId="4357"/>
            <ac:spMk id="4" creationId="{86C3FFB1-FD3F-8B5B-A8E3-B4784FE4EBF1}"/>
          </ac:spMkLst>
        </pc:spChg>
        <pc:spChg chg="add del mod">
          <ac:chgData name="April Durrence" userId="2314a7d0-99d3-4144-8a7f-648170c8b7b7" providerId="ADAL" clId="{EAE80DB9-CB43-4440-9E5C-0B0573E509B3}" dt="2026-02-10T22:24:48.569" v="2198" actId="1076"/>
          <ac:spMkLst>
            <pc:docMk/>
            <pc:sldMk cId="1979173307" sldId="4357"/>
            <ac:spMk id="5" creationId="{A49513DD-0F7D-401E-B1A9-46CF6058B837}"/>
          </ac:spMkLst>
        </pc:spChg>
        <pc:spChg chg="mod topLvl">
          <ac:chgData name="April Durrence" userId="2314a7d0-99d3-4144-8a7f-648170c8b7b7" providerId="ADAL" clId="{EAE80DB9-CB43-4440-9E5C-0B0573E509B3}" dt="2026-02-10T22:28:29.894" v="2239" actId="1076"/>
          <ac:spMkLst>
            <pc:docMk/>
            <pc:sldMk cId="1979173307" sldId="4357"/>
            <ac:spMk id="16" creationId="{B4F014A1-3EA9-EEF0-A45D-B043830384D3}"/>
          </ac:spMkLst>
        </pc:spChg>
        <pc:spChg chg="mod topLvl">
          <ac:chgData name="April Durrence" userId="2314a7d0-99d3-4144-8a7f-648170c8b7b7" providerId="ADAL" clId="{EAE80DB9-CB43-4440-9E5C-0B0573E509B3}" dt="2026-02-10T22:25:58.248" v="2204" actId="962"/>
          <ac:spMkLst>
            <pc:docMk/>
            <pc:sldMk cId="1979173307" sldId="4357"/>
            <ac:spMk id="20" creationId="{E8AF4A42-1963-0A49-F76F-C105EBEC555A}"/>
          </ac:spMkLst>
        </pc:spChg>
        <pc:spChg chg="mod topLvl">
          <ac:chgData name="April Durrence" userId="2314a7d0-99d3-4144-8a7f-648170c8b7b7" providerId="ADAL" clId="{EAE80DB9-CB43-4440-9E5C-0B0573E509B3}" dt="2026-02-10T22:26:11.257" v="2207" actId="962"/>
          <ac:spMkLst>
            <pc:docMk/>
            <pc:sldMk cId="1979173307" sldId="4357"/>
            <ac:spMk id="24" creationId="{9CA1C689-E336-CF9E-BCFD-160C18416335}"/>
          </ac:spMkLst>
        </pc:spChg>
        <pc:spChg chg="mod topLvl">
          <ac:chgData name="April Durrence" userId="2314a7d0-99d3-4144-8a7f-648170c8b7b7" providerId="ADAL" clId="{EAE80DB9-CB43-4440-9E5C-0B0573E509B3}" dt="2026-02-10T22:28:21.182" v="2238" actId="1076"/>
          <ac:spMkLst>
            <pc:docMk/>
            <pc:sldMk cId="1979173307" sldId="4357"/>
            <ac:spMk id="26" creationId="{C8A208DA-B864-9206-E8D4-754EC3246B44}"/>
          </ac:spMkLst>
        </pc:spChg>
        <pc:spChg chg="mod topLvl">
          <ac:chgData name="April Durrence" userId="2314a7d0-99d3-4144-8a7f-648170c8b7b7" providerId="ADAL" clId="{EAE80DB9-CB43-4440-9E5C-0B0573E509B3}" dt="2026-02-10T22:26:43.986" v="2219" actId="962"/>
          <ac:spMkLst>
            <pc:docMk/>
            <pc:sldMk cId="1979173307" sldId="4357"/>
            <ac:spMk id="28" creationId="{7B2D8F70-4249-926B-D495-CC6205E95A87}"/>
          </ac:spMkLst>
        </pc:spChg>
        <pc:spChg chg="mod topLvl">
          <ac:chgData name="April Durrence" userId="2314a7d0-99d3-4144-8a7f-648170c8b7b7" providerId="ADAL" clId="{EAE80DB9-CB43-4440-9E5C-0B0573E509B3}" dt="2026-02-10T22:28:39.182" v="2240" actId="1076"/>
          <ac:spMkLst>
            <pc:docMk/>
            <pc:sldMk cId="1979173307" sldId="4357"/>
            <ac:spMk id="30" creationId="{FC6BC6B2-81D1-4CCD-ED26-340AB3754459}"/>
          </ac:spMkLst>
        </pc:spChg>
        <pc:spChg chg="mod topLvl">
          <ac:chgData name="April Durrence" userId="2314a7d0-99d3-4144-8a7f-648170c8b7b7" providerId="ADAL" clId="{EAE80DB9-CB43-4440-9E5C-0B0573E509B3}" dt="2026-02-10T22:26:40.010" v="2218" actId="962"/>
          <ac:spMkLst>
            <pc:docMk/>
            <pc:sldMk cId="1979173307" sldId="4357"/>
            <ac:spMk id="37" creationId="{AEB834D7-3083-F68E-CEC9-B033DB8950F3}"/>
          </ac:spMkLst>
        </pc:spChg>
        <pc:spChg chg="mod topLvl">
          <ac:chgData name="April Durrence" userId="2314a7d0-99d3-4144-8a7f-648170c8b7b7" providerId="ADAL" clId="{EAE80DB9-CB43-4440-9E5C-0B0573E509B3}" dt="2026-02-10T22:26:15.288" v="2209" actId="962"/>
          <ac:spMkLst>
            <pc:docMk/>
            <pc:sldMk cId="1979173307" sldId="4357"/>
            <ac:spMk id="38" creationId="{E959D5BE-CFC4-3D46-FE23-B7F75EDD2FCD}"/>
          </ac:spMkLst>
        </pc:spChg>
        <pc:spChg chg="mod topLvl">
          <ac:chgData name="April Durrence" userId="2314a7d0-99d3-4144-8a7f-648170c8b7b7" providerId="ADAL" clId="{EAE80DB9-CB43-4440-9E5C-0B0573E509B3}" dt="2026-02-10T22:28:52.565" v="2242" actId="1076"/>
          <ac:spMkLst>
            <pc:docMk/>
            <pc:sldMk cId="1979173307" sldId="4357"/>
            <ac:spMk id="40" creationId="{53758C2C-6DE6-2CD2-657F-B3CEF1FE30A6}"/>
          </ac:spMkLst>
        </pc:spChg>
        <pc:picChg chg="mod">
          <ac:chgData name="April Durrence" userId="2314a7d0-99d3-4144-8a7f-648170c8b7b7" providerId="ADAL" clId="{EAE80DB9-CB43-4440-9E5C-0B0573E509B3}" dt="2026-02-10T20:46:50.844" v="2" actId="962"/>
          <ac:picMkLst>
            <pc:docMk/>
            <pc:sldMk cId="1979173307" sldId="4357"/>
            <ac:picMk id="3" creationId="{E82FDDA5-90B0-D954-23EB-102A2082A3F0}"/>
          </ac:picMkLst>
        </pc:picChg>
        <pc:picChg chg="mod">
          <ac:chgData name="April Durrence" userId="2314a7d0-99d3-4144-8a7f-648170c8b7b7" providerId="ADAL" clId="{EAE80DB9-CB43-4440-9E5C-0B0573E509B3}" dt="2026-02-10T22:26:09.352" v="2206" actId="962"/>
          <ac:picMkLst>
            <pc:docMk/>
            <pc:sldMk cId="1979173307" sldId="4357"/>
            <ac:picMk id="7" creationId="{7A6B56A4-7703-D52E-74D7-F5EF44F2A4C8}"/>
          </ac:picMkLst>
        </pc:picChg>
        <pc:picChg chg="mod">
          <ac:chgData name="April Durrence" userId="2314a7d0-99d3-4144-8a7f-648170c8b7b7" providerId="ADAL" clId="{EAE80DB9-CB43-4440-9E5C-0B0573E509B3}" dt="2026-02-10T22:26:44.721" v="2220" actId="962"/>
          <ac:picMkLst>
            <pc:docMk/>
            <pc:sldMk cId="1979173307" sldId="4357"/>
            <ac:picMk id="18" creationId="{5D8AB55C-8E63-3054-0464-F8291B2193FC}"/>
          </ac:picMkLst>
        </pc:picChg>
        <pc:picChg chg="mod topLvl">
          <ac:chgData name="April Durrence" userId="2314a7d0-99d3-4144-8a7f-648170c8b7b7" providerId="ADAL" clId="{EAE80DB9-CB43-4440-9E5C-0B0573E509B3}" dt="2026-02-10T22:26:05.719" v="2205" actId="962"/>
          <ac:picMkLst>
            <pc:docMk/>
            <pc:sldMk cId="1979173307" sldId="4357"/>
            <ac:picMk id="19" creationId="{A717DAC1-62D0-AA3C-90D5-5451E3B89C88}"/>
          </ac:picMkLst>
        </pc:picChg>
        <pc:picChg chg="mod">
          <ac:chgData name="April Durrence" userId="2314a7d0-99d3-4144-8a7f-648170c8b7b7" providerId="ADAL" clId="{EAE80DB9-CB43-4440-9E5C-0B0573E509B3}" dt="2026-02-10T22:26:18.320" v="2210" actId="962"/>
          <ac:picMkLst>
            <pc:docMk/>
            <pc:sldMk cId="1979173307" sldId="4357"/>
            <ac:picMk id="21" creationId="{73F8AF43-4150-3BE7-8AF5-23F0349854AE}"/>
          </ac:picMkLst>
        </pc:picChg>
        <pc:picChg chg="mod topLvl">
          <ac:chgData name="April Durrence" userId="2314a7d0-99d3-4144-8a7f-648170c8b7b7" providerId="ADAL" clId="{EAE80DB9-CB43-4440-9E5C-0B0573E509B3}" dt="2026-02-10T22:25:37.775" v="2201" actId="165"/>
          <ac:picMkLst>
            <pc:docMk/>
            <pc:sldMk cId="1979173307" sldId="4357"/>
            <ac:picMk id="25" creationId="{A56C9EC7-E3D5-B5B2-35D2-6514A33DE882}"/>
          </ac:picMkLst>
        </pc:picChg>
        <pc:picChg chg="mod topLvl">
          <ac:chgData name="April Durrence" userId="2314a7d0-99d3-4144-8a7f-648170c8b7b7" providerId="ADAL" clId="{EAE80DB9-CB43-4440-9E5C-0B0573E509B3}" dt="2026-02-10T22:25:53.213" v="2203" actId="165"/>
          <ac:picMkLst>
            <pc:docMk/>
            <pc:sldMk cId="1979173307" sldId="4357"/>
            <ac:picMk id="29" creationId="{20377980-442D-33E5-C6A4-02700837A2EC}"/>
          </ac:picMkLst>
        </pc:picChg>
        <pc:picChg chg="mod">
          <ac:chgData name="April Durrence" userId="2314a7d0-99d3-4144-8a7f-648170c8b7b7" providerId="ADAL" clId="{EAE80DB9-CB43-4440-9E5C-0B0573E509B3}" dt="2026-02-10T22:26:19.072" v="2211" actId="962"/>
          <ac:picMkLst>
            <pc:docMk/>
            <pc:sldMk cId="1979173307" sldId="4357"/>
            <ac:picMk id="32" creationId="{F3C1C065-1EF5-BCC1-E282-85AE43A14F02}"/>
          </ac:picMkLst>
        </pc:picChg>
        <pc:picChg chg="mod topLvl">
          <ac:chgData name="April Durrence" userId="2314a7d0-99d3-4144-8a7f-648170c8b7b7" providerId="ADAL" clId="{EAE80DB9-CB43-4440-9E5C-0B0573E509B3}" dt="2026-02-10T22:26:14.161" v="2208" actId="962"/>
          <ac:picMkLst>
            <pc:docMk/>
            <pc:sldMk cId="1979173307" sldId="4357"/>
            <ac:picMk id="36" creationId="{8F1D0990-92FC-8F57-DE36-B46FC5BB9495}"/>
          </ac:picMkLst>
        </pc:picChg>
        <pc:picChg chg="mod topLvl">
          <ac:chgData name="April Durrence" userId="2314a7d0-99d3-4144-8a7f-648170c8b7b7" providerId="ADAL" clId="{EAE80DB9-CB43-4440-9E5C-0B0573E509B3}" dt="2026-02-10T22:26:33.128" v="2217" actId="165"/>
          <ac:picMkLst>
            <pc:docMk/>
            <pc:sldMk cId="1979173307" sldId="4357"/>
            <ac:picMk id="39" creationId="{3DF19FB5-8CD0-0DEA-6C5B-2D460C68A94F}"/>
          </ac:picMkLst>
        </pc:picChg>
      </pc:sldChg>
      <pc:sldChg chg="addSp delSp modSp mod">
        <pc:chgData name="April Durrence" userId="2314a7d0-99d3-4144-8a7f-648170c8b7b7" providerId="ADAL" clId="{EAE80DB9-CB43-4440-9E5C-0B0573E509B3}" dt="2026-02-10T21:45:14.027" v="1142" actId="207"/>
        <pc:sldMkLst>
          <pc:docMk/>
          <pc:sldMk cId="1521074485" sldId="4358"/>
        </pc:sldMkLst>
        <pc:spChg chg="mod">
          <ac:chgData name="April Durrence" userId="2314a7d0-99d3-4144-8a7f-648170c8b7b7" providerId="ADAL" clId="{EAE80DB9-CB43-4440-9E5C-0B0573E509B3}" dt="2026-02-10T21:45:14.027" v="1142" actId="207"/>
          <ac:spMkLst>
            <pc:docMk/>
            <pc:sldMk cId="1521074485" sldId="4358"/>
            <ac:spMk id="2" creationId="{D2703CD3-F5B4-B0D6-C99C-B9B612731AE6}"/>
          </ac:spMkLst>
        </pc:spChg>
        <pc:spChg chg="mod ord">
          <ac:chgData name="April Durrence" userId="2314a7d0-99d3-4144-8a7f-648170c8b7b7" providerId="ADAL" clId="{EAE80DB9-CB43-4440-9E5C-0B0573E509B3}" dt="2026-02-10T21:18:32.824" v="332" actId="13244"/>
          <ac:spMkLst>
            <pc:docMk/>
            <pc:sldMk cId="1521074485" sldId="4358"/>
            <ac:spMk id="3" creationId="{C13A5962-B798-8B89-B116-117B2EE5F56A}"/>
          </ac:spMkLst>
        </pc:spChg>
        <pc:picChg chg="add mod ord">
          <ac:chgData name="April Durrence" userId="2314a7d0-99d3-4144-8a7f-648170c8b7b7" providerId="ADAL" clId="{EAE80DB9-CB43-4440-9E5C-0B0573E509B3}" dt="2026-02-10T21:21:46.437" v="625" actId="13244"/>
          <ac:picMkLst>
            <pc:docMk/>
            <pc:sldMk cId="1521074485" sldId="4358"/>
            <ac:picMk id="7" creationId="{DC8369DD-3315-B934-13BA-A1D046205CD0}"/>
          </ac:picMkLst>
        </pc:picChg>
      </pc:sldChg>
      <pc:sldChg chg="addSp delSp modSp mod">
        <pc:chgData name="April Durrence" userId="2314a7d0-99d3-4144-8a7f-648170c8b7b7" providerId="ADAL" clId="{EAE80DB9-CB43-4440-9E5C-0B0573E509B3}" dt="2026-02-12T21:17:38.321" v="2793" actId="962"/>
        <pc:sldMkLst>
          <pc:docMk/>
          <pc:sldMk cId="3433243459" sldId="4359"/>
        </pc:sldMkLst>
        <pc:spChg chg="mod">
          <ac:chgData name="April Durrence" userId="2314a7d0-99d3-4144-8a7f-648170c8b7b7" providerId="ADAL" clId="{EAE80DB9-CB43-4440-9E5C-0B0573E509B3}" dt="2026-02-10T21:54:38.881" v="1462" actId="207"/>
          <ac:spMkLst>
            <pc:docMk/>
            <pc:sldMk cId="3433243459" sldId="4359"/>
            <ac:spMk id="2" creationId="{4D09D41B-8A79-8FE0-640F-C055B2293284}"/>
          </ac:spMkLst>
        </pc:spChg>
        <pc:spChg chg="mod ord">
          <ac:chgData name="April Durrence" userId="2314a7d0-99d3-4144-8a7f-648170c8b7b7" providerId="ADAL" clId="{EAE80DB9-CB43-4440-9E5C-0B0573E509B3}" dt="2026-02-10T21:50:15.030" v="1204" actId="13244"/>
          <ac:spMkLst>
            <pc:docMk/>
            <pc:sldMk cId="3433243459" sldId="4359"/>
            <ac:spMk id="3" creationId="{16D0CCD3-5D0B-D950-4A68-14CAF6E344D8}"/>
          </ac:spMkLst>
        </pc:spChg>
        <pc:spChg chg="mod">
          <ac:chgData name="April Durrence" userId="2314a7d0-99d3-4144-8a7f-648170c8b7b7" providerId="ADAL" clId="{EAE80DB9-CB43-4440-9E5C-0B0573E509B3}" dt="2026-02-10T21:49:18.096" v="1199" actId="1076"/>
          <ac:spMkLst>
            <pc:docMk/>
            <pc:sldMk cId="3433243459" sldId="4359"/>
            <ac:spMk id="4" creationId="{2ECDAD0E-CBD0-9337-60BA-5FC3610EC479}"/>
          </ac:spMkLst>
        </pc:spChg>
        <pc:spChg chg="add mod ord">
          <ac:chgData name="April Durrence" userId="2314a7d0-99d3-4144-8a7f-648170c8b7b7" providerId="ADAL" clId="{EAE80DB9-CB43-4440-9E5C-0B0573E509B3}" dt="2026-02-12T19:03:26.692" v="2244" actId="14100"/>
          <ac:spMkLst>
            <pc:docMk/>
            <pc:sldMk cId="3433243459" sldId="4359"/>
            <ac:spMk id="5" creationId="{2968F7C8-F9F2-329A-5601-10D3C79F1858}"/>
          </ac:spMkLst>
        </pc:spChg>
        <pc:picChg chg="mod">
          <ac:chgData name="April Durrence" userId="2314a7d0-99d3-4144-8a7f-648170c8b7b7" providerId="ADAL" clId="{EAE80DB9-CB43-4440-9E5C-0B0573E509B3}" dt="2026-02-12T21:17:38.321" v="2793" actId="962"/>
          <ac:picMkLst>
            <pc:docMk/>
            <pc:sldMk cId="3433243459" sldId="4359"/>
            <ac:picMk id="1026" creationId="{5679929C-F513-C804-F4C1-AF2795121A9C}"/>
          </ac:picMkLst>
        </pc:picChg>
      </pc:sldChg>
      <pc:sldChg chg="addSp modSp mod">
        <pc:chgData name="April Durrence" userId="2314a7d0-99d3-4144-8a7f-648170c8b7b7" providerId="ADAL" clId="{EAE80DB9-CB43-4440-9E5C-0B0573E509B3}" dt="2026-02-10T21:44:35.923" v="1137" actId="207"/>
        <pc:sldMkLst>
          <pc:docMk/>
          <pc:sldMk cId="3650368693" sldId="4361"/>
        </pc:sldMkLst>
        <pc:spChg chg="mod">
          <ac:chgData name="April Durrence" userId="2314a7d0-99d3-4144-8a7f-648170c8b7b7" providerId="ADAL" clId="{EAE80DB9-CB43-4440-9E5C-0B0573E509B3}" dt="2026-02-10T21:44:35.923" v="1137" actId="207"/>
          <ac:spMkLst>
            <pc:docMk/>
            <pc:sldMk cId="3650368693" sldId="4361"/>
            <ac:spMk id="2" creationId="{A2D12FD7-6D44-43FA-B646-9DB2F348A51D}"/>
          </ac:spMkLst>
        </pc:spChg>
        <pc:spChg chg="mod">
          <ac:chgData name="April Durrence" userId="2314a7d0-99d3-4144-8a7f-648170c8b7b7" providerId="ADAL" clId="{EAE80DB9-CB43-4440-9E5C-0B0573E509B3}" dt="2026-02-10T20:53:12.368" v="49" actId="962"/>
          <ac:spMkLst>
            <pc:docMk/>
            <pc:sldMk cId="3650368693" sldId="4361"/>
            <ac:spMk id="3" creationId="{F2F87505-3AE4-9CDD-949D-1F6C082C4501}"/>
          </ac:spMkLst>
        </pc:spChg>
        <pc:spChg chg="add mod">
          <ac:chgData name="April Durrence" userId="2314a7d0-99d3-4144-8a7f-648170c8b7b7" providerId="ADAL" clId="{EAE80DB9-CB43-4440-9E5C-0B0573E509B3}" dt="2026-02-10T20:54:59.619" v="65" actId="20577"/>
          <ac:spMkLst>
            <pc:docMk/>
            <pc:sldMk cId="3650368693" sldId="4361"/>
            <ac:spMk id="4" creationId="{080983D5-5E24-31FF-A9F3-3A9350737647}"/>
          </ac:spMkLst>
        </pc:spChg>
        <pc:spChg chg="add mod">
          <ac:chgData name="April Durrence" userId="2314a7d0-99d3-4144-8a7f-648170c8b7b7" providerId="ADAL" clId="{EAE80DB9-CB43-4440-9E5C-0B0573E509B3}" dt="2026-02-10T20:55:09.033" v="66" actId="1076"/>
          <ac:spMkLst>
            <pc:docMk/>
            <pc:sldMk cId="3650368693" sldId="4361"/>
            <ac:spMk id="6" creationId="{20ED63F9-EF9E-9131-058F-58E200848243}"/>
          </ac:spMkLst>
        </pc:spChg>
        <pc:spChg chg="add mod">
          <ac:chgData name="April Durrence" userId="2314a7d0-99d3-4144-8a7f-648170c8b7b7" providerId="ADAL" clId="{EAE80DB9-CB43-4440-9E5C-0B0573E509B3}" dt="2026-02-10T20:56:16.929" v="81" actId="1076"/>
          <ac:spMkLst>
            <pc:docMk/>
            <pc:sldMk cId="3650368693" sldId="4361"/>
            <ac:spMk id="7" creationId="{02134873-DC6C-0E4E-E692-BD7D3C08F342}"/>
          </ac:spMkLst>
        </pc:spChg>
        <pc:spChg chg="add mod">
          <ac:chgData name="April Durrence" userId="2314a7d0-99d3-4144-8a7f-648170c8b7b7" providerId="ADAL" clId="{EAE80DB9-CB43-4440-9E5C-0B0573E509B3}" dt="2026-02-10T20:55:52.913" v="76" actId="1076"/>
          <ac:spMkLst>
            <pc:docMk/>
            <pc:sldMk cId="3650368693" sldId="4361"/>
            <ac:spMk id="8" creationId="{DCBE6AE9-0026-8CA7-9CF0-474EE28141F3}"/>
          </ac:spMkLst>
        </pc:spChg>
        <pc:graphicFrameChg chg="mod modGraphic">
          <ac:chgData name="April Durrence" userId="2314a7d0-99d3-4144-8a7f-648170c8b7b7" providerId="ADAL" clId="{EAE80DB9-CB43-4440-9E5C-0B0573E509B3}" dt="2026-02-10T20:56:20.706" v="82" actId="962"/>
          <ac:graphicFrameMkLst>
            <pc:docMk/>
            <pc:sldMk cId="3650368693" sldId="4361"/>
            <ac:graphicFrameMk id="5" creationId="{45967800-2A65-A1B1-017F-397FB4B1BFFB}"/>
          </ac:graphicFrameMkLst>
        </pc:graphicFrameChg>
      </pc:sldChg>
      <pc:sldChg chg="addSp delSp modSp mod">
        <pc:chgData name="April Durrence" userId="2314a7d0-99d3-4144-8a7f-648170c8b7b7" providerId="ADAL" clId="{EAE80DB9-CB43-4440-9E5C-0B0573E509B3}" dt="2026-02-10T21:45:23.580" v="1143" actId="207"/>
        <pc:sldMkLst>
          <pc:docMk/>
          <pc:sldMk cId="1107145196" sldId="4362"/>
        </pc:sldMkLst>
        <pc:spChg chg="mod">
          <ac:chgData name="April Durrence" userId="2314a7d0-99d3-4144-8a7f-648170c8b7b7" providerId="ADAL" clId="{EAE80DB9-CB43-4440-9E5C-0B0573E509B3}" dt="2026-02-10T21:45:23.580" v="1143" actId="207"/>
          <ac:spMkLst>
            <pc:docMk/>
            <pc:sldMk cId="1107145196" sldId="4362"/>
            <ac:spMk id="2" creationId="{A6493A95-10A2-3D5B-908C-BA9C9F20C7F9}"/>
          </ac:spMkLst>
        </pc:spChg>
        <pc:spChg chg="mod ord">
          <ac:chgData name="April Durrence" userId="2314a7d0-99d3-4144-8a7f-648170c8b7b7" providerId="ADAL" clId="{EAE80DB9-CB43-4440-9E5C-0B0573E509B3}" dt="2026-02-10T21:28:21.404" v="714" actId="13244"/>
          <ac:spMkLst>
            <pc:docMk/>
            <pc:sldMk cId="1107145196" sldId="4362"/>
            <ac:spMk id="3" creationId="{EB3311C5-38C1-CB2C-5D9D-447CF112DD01}"/>
          </ac:spMkLst>
        </pc:spChg>
        <pc:spChg chg="add mod">
          <ac:chgData name="April Durrence" userId="2314a7d0-99d3-4144-8a7f-648170c8b7b7" providerId="ADAL" clId="{EAE80DB9-CB43-4440-9E5C-0B0573E509B3}" dt="2026-02-10T21:27:02.531" v="708" actId="948"/>
          <ac:spMkLst>
            <pc:docMk/>
            <pc:sldMk cId="1107145196" sldId="4362"/>
            <ac:spMk id="5" creationId="{00C776C8-6C65-DC0F-01CC-F8E0D0E6E620}"/>
          </ac:spMkLst>
        </pc:spChg>
        <pc:spChg chg="add mod">
          <ac:chgData name="April Durrence" userId="2314a7d0-99d3-4144-8a7f-648170c8b7b7" providerId="ADAL" clId="{EAE80DB9-CB43-4440-9E5C-0B0573E509B3}" dt="2026-02-10T21:27:56.127" v="712" actId="1076"/>
          <ac:spMkLst>
            <pc:docMk/>
            <pc:sldMk cId="1107145196" sldId="4362"/>
            <ac:spMk id="6" creationId="{CF0EC58F-FF9E-39A7-5F72-5766F8970938}"/>
          </ac:spMkLst>
        </pc:spChg>
      </pc:sldChg>
      <pc:sldChg chg="modSp mod">
        <pc:chgData name="April Durrence" userId="2314a7d0-99d3-4144-8a7f-648170c8b7b7" providerId="ADAL" clId="{EAE80DB9-CB43-4440-9E5C-0B0573E509B3}" dt="2026-02-10T22:12:11.101" v="1967" actId="1076"/>
        <pc:sldMkLst>
          <pc:docMk/>
          <pc:sldMk cId="2825516367" sldId="4363"/>
        </pc:sldMkLst>
        <pc:spChg chg="mod">
          <ac:chgData name="April Durrence" userId="2314a7d0-99d3-4144-8a7f-648170c8b7b7" providerId="ADAL" clId="{EAE80DB9-CB43-4440-9E5C-0B0573E509B3}" dt="2026-02-10T22:10:25.885" v="1951" actId="207"/>
          <ac:spMkLst>
            <pc:docMk/>
            <pc:sldMk cId="2825516367" sldId="4363"/>
            <ac:spMk id="2" creationId="{F158984D-9E09-1C52-F743-3B26AA2131B4}"/>
          </ac:spMkLst>
        </pc:spChg>
        <pc:spChg chg="mod ord">
          <ac:chgData name="April Durrence" userId="2314a7d0-99d3-4144-8a7f-648170c8b7b7" providerId="ADAL" clId="{EAE80DB9-CB43-4440-9E5C-0B0573E509B3}" dt="2026-02-10T22:10:36.199" v="1953" actId="13244"/>
          <ac:spMkLst>
            <pc:docMk/>
            <pc:sldMk cId="2825516367" sldId="4363"/>
            <ac:spMk id="3" creationId="{9A072AB2-1A14-3DB0-318D-3BFE33DAC866}"/>
          </ac:spMkLst>
        </pc:spChg>
        <pc:spChg chg="mod">
          <ac:chgData name="April Durrence" userId="2314a7d0-99d3-4144-8a7f-648170c8b7b7" providerId="ADAL" clId="{EAE80DB9-CB43-4440-9E5C-0B0573E509B3}" dt="2026-02-10T22:12:11.101" v="1967" actId="1076"/>
          <ac:spMkLst>
            <pc:docMk/>
            <pc:sldMk cId="2825516367" sldId="4363"/>
            <ac:spMk id="4" creationId="{5B3F0A91-2B89-FF81-6E67-4240BC1CF794}"/>
          </ac:spMkLst>
        </pc:spChg>
        <pc:picChg chg="mod">
          <ac:chgData name="April Durrence" userId="2314a7d0-99d3-4144-8a7f-648170c8b7b7" providerId="ADAL" clId="{EAE80DB9-CB43-4440-9E5C-0B0573E509B3}" dt="2026-02-10T22:11:51.226" v="1964" actId="1076"/>
          <ac:picMkLst>
            <pc:docMk/>
            <pc:sldMk cId="2825516367" sldId="4363"/>
            <ac:picMk id="5" creationId="{811F65FA-1861-16F0-4103-54324B032CB6}"/>
          </ac:picMkLst>
        </pc:picChg>
      </pc:sldChg>
      <pc:sldChg chg="modSp mod">
        <pc:chgData name="April Durrence" userId="2314a7d0-99d3-4144-8a7f-648170c8b7b7" providerId="ADAL" clId="{EAE80DB9-CB43-4440-9E5C-0B0573E509B3}" dt="2026-02-10T21:46:45.143" v="1174" actId="20577"/>
        <pc:sldMkLst>
          <pc:docMk/>
          <pc:sldMk cId="3119581334" sldId="4364"/>
        </pc:sldMkLst>
        <pc:spChg chg="mod">
          <ac:chgData name="April Durrence" userId="2314a7d0-99d3-4144-8a7f-648170c8b7b7" providerId="ADAL" clId="{EAE80DB9-CB43-4440-9E5C-0B0573E509B3}" dt="2026-02-10T21:46:45.143" v="1174" actId="20577"/>
          <ac:spMkLst>
            <pc:docMk/>
            <pc:sldMk cId="3119581334" sldId="4364"/>
            <ac:spMk id="2" creationId="{56A04BC9-3EBC-0B7E-34CC-3C83287D451C}"/>
          </ac:spMkLst>
        </pc:spChg>
        <pc:spChg chg="mod ord">
          <ac:chgData name="April Durrence" userId="2314a7d0-99d3-4144-8a7f-648170c8b7b7" providerId="ADAL" clId="{EAE80DB9-CB43-4440-9E5C-0B0573E509B3}" dt="2026-02-10T21:33:36.168" v="1047" actId="13244"/>
          <ac:spMkLst>
            <pc:docMk/>
            <pc:sldMk cId="3119581334" sldId="4364"/>
            <ac:spMk id="3" creationId="{42B6B402-91CC-A5D0-3842-14B0EE3BA814}"/>
          </ac:spMkLst>
        </pc:spChg>
      </pc:sldChg>
      <pc:sldChg chg="modSp mod">
        <pc:chgData name="April Durrence" userId="2314a7d0-99d3-4144-8a7f-648170c8b7b7" providerId="ADAL" clId="{EAE80DB9-CB43-4440-9E5C-0B0573E509B3}" dt="2026-02-10T21:47:28.749" v="1184" actId="13244"/>
        <pc:sldMkLst>
          <pc:docMk/>
          <pc:sldMk cId="936216564" sldId="4365"/>
        </pc:sldMkLst>
        <pc:spChg chg="mod">
          <ac:chgData name="April Durrence" userId="2314a7d0-99d3-4144-8a7f-648170c8b7b7" providerId="ADAL" clId="{EAE80DB9-CB43-4440-9E5C-0B0573E509B3}" dt="2026-02-10T21:46:52.039" v="1176"/>
          <ac:spMkLst>
            <pc:docMk/>
            <pc:sldMk cId="936216564" sldId="4365"/>
            <ac:spMk id="2" creationId="{ADAE51BA-E032-74E4-08B3-CFB718517F04}"/>
          </ac:spMkLst>
        </pc:spChg>
        <pc:spChg chg="mod ord">
          <ac:chgData name="April Durrence" userId="2314a7d0-99d3-4144-8a7f-648170c8b7b7" providerId="ADAL" clId="{EAE80DB9-CB43-4440-9E5C-0B0573E509B3}" dt="2026-02-10T21:47:28.749" v="1184" actId="13244"/>
          <ac:spMkLst>
            <pc:docMk/>
            <pc:sldMk cId="936216564" sldId="4365"/>
            <ac:spMk id="3" creationId="{31873A17-6C05-96B0-4193-BD659AF2F492}"/>
          </ac:spMkLst>
        </pc:spChg>
      </pc:sldChg>
      <pc:sldChg chg="addSp delSp modSp mod">
        <pc:chgData name="April Durrence" userId="2314a7d0-99d3-4144-8a7f-648170c8b7b7" providerId="ADAL" clId="{EAE80DB9-CB43-4440-9E5C-0B0573E509B3}" dt="2026-02-10T21:44:39.955" v="1138" actId="207"/>
        <pc:sldMkLst>
          <pc:docMk/>
          <pc:sldMk cId="500953402" sldId="4367"/>
        </pc:sldMkLst>
        <pc:spChg chg="mod">
          <ac:chgData name="April Durrence" userId="2314a7d0-99d3-4144-8a7f-648170c8b7b7" providerId="ADAL" clId="{EAE80DB9-CB43-4440-9E5C-0B0573E509B3}" dt="2026-02-10T21:44:39.955" v="1138" actId="207"/>
          <ac:spMkLst>
            <pc:docMk/>
            <pc:sldMk cId="500953402" sldId="4367"/>
            <ac:spMk id="2" creationId="{B9B26881-BBE2-4896-EC36-90B2E22A3553}"/>
          </ac:spMkLst>
        </pc:spChg>
        <pc:spChg chg="mod ord">
          <ac:chgData name="April Durrence" userId="2314a7d0-99d3-4144-8a7f-648170c8b7b7" providerId="ADAL" clId="{EAE80DB9-CB43-4440-9E5C-0B0573E509B3}" dt="2026-02-10T20:52:36.091" v="48" actId="13244"/>
          <ac:spMkLst>
            <pc:docMk/>
            <pc:sldMk cId="500953402" sldId="4367"/>
            <ac:spMk id="3" creationId="{71975949-8797-CB35-A56F-3C3515BE5B54}"/>
          </ac:spMkLst>
        </pc:spChg>
        <pc:spChg chg="add mod">
          <ac:chgData name="April Durrence" userId="2314a7d0-99d3-4144-8a7f-648170c8b7b7" providerId="ADAL" clId="{EAE80DB9-CB43-4440-9E5C-0B0573E509B3}" dt="2026-02-10T20:50:27.539" v="29" actId="1076"/>
          <ac:spMkLst>
            <pc:docMk/>
            <pc:sldMk cId="500953402" sldId="4367"/>
            <ac:spMk id="4" creationId="{827BCCBC-D13B-03E8-DA8C-DD44D53F0ACD}"/>
          </ac:spMkLst>
        </pc:spChg>
        <pc:spChg chg="mod ord">
          <ac:chgData name="April Durrence" userId="2314a7d0-99d3-4144-8a7f-648170c8b7b7" providerId="ADAL" clId="{EAE80DB9-CB43-4440-9E5C-0B0573E509B3}" dt="2026-02-10T20:52:36.091" v="48" actId="13244"/>
          <ac:spMkLst>
            <pc:docMk/>
            <pc:sldMk cId="500953402" sldId="4367"/>
            <ac:spMk id="5" creationId="{B38C83D9-376A-FDD4-75FB-B229929ABC71}"/>
          </ac:spMkLst>
        </pc:spChg>
        <pc:spChg chg="add mod">
          <ac:chgData name="April Durrence" userId="2314a7d0-99d3-4144-8a7f-648170c8b7b7" providerId="ADAL" clId="{EAE80DB9-CB43-4440-9E5C-0B0573E509B3}" dt="2026-02-10T20:50:51.925" v="34" actId="207"/>
          <ac:spMkLst>
            <pc:docMk/>
            <pc:sldMk cId="500953402" sldId="4367"/>
            <ac:spMk id="7" creationId="{63A515EF-210A-6B53-654A-FE1E95FD926D}"/>
          </ac:spMkLst>
        </pc:spChg>
        <pc:spChg chg="mod ord">
          <ac:chgData name="April Durrence" userId="2314a7d0-99d3-4144-8a7f-648170c8b7b7" providerId="ADAL" clId="{EAE80DB9-CB43-4440-9E5C-0B0573E509B3}" dt="2026-02-10T20:52:36.091" v="48" actId="13244"/>
          <ac:spMkLst>
            <pc:docMk/>
            <pc:sldMk cId="500953402" sldId="4367"/>
            <ac:spMk id="8" creationId="{303003F7-9229-EA63-7437-F9DA71A2E022}"/>
          </ac:spMkLst>
        </pc:spChg>
        <pc:spChg chg="mod ord">
          <ac:chgData name="April Durrence" userId="2314a7d0-99d3-4144-8a7f-648170c8b7b7" providerId="ADAL" clId="{EAE80DB9-CB43-4440-9E5C-0B0573E509B3}" dt="2026-02-10T20:52:36.091" v="48" actId="13244"/>
          <ac:spMkLst>
            <pc:docMk/>
            <pc:sldMk cId="500953402" sldId="4367"/>
            <ac:spMk id="10" creationId="{170D9BF8-9D5B-F5D1-B9FA-2900C66457AA}"/>
          </ac:spMkLst>
        </pc:spChg>
        <pc:spChg chg="mod ord">
          <ac:chgData name="April Durrence" userId="2314a7d0-99d3-4144-8a7f-648170c8b7b7" providerId="ADAL" clId="{EAE80DB9-CB43-4440-9E5C-0B0573E509B3}" dt="2026-02-10T20:52:36.091" v="48" actId="13244"/>
          <ac:spMkLst>
            <pc:docMk/>
            <pc:sldMk cId="500953402" sldId="4367"/>
            <ac:spMk id="12" creationId="{272C0428-79D3-1529-FF2E-B9B203F75A22}"/>
          </ac:spMkLst>
        </pc:spChg>
        <pc:spChg chg="mod ord">
          <ac:chgData name="April Durrence" userId="2314a7d0-99d3-4144-8a7f-648170c8b7b7" providerId="ADAL" clId="{EAE80DB9-CB43-4440-9E5C-0B0573E509B3}" dt="2026-02-10T20:52:36.091" v="48" actId="13244"/>
          <ac:spMkLst>
            <pc:docMk/>
            <pc:sldMk cId="500953402" sldId="4367"/>
            <ac:spMk id="14" creationId="{E2DAD6DC-781A-3649-B0C7-FC26AB7A5BD9}"/>
          </ac:spMkLst>
        </pc:spChg>
        <pc:spChg chg="mod ord">
          <ac:chgData name="April Durrence" userId="2314a7d0-99d3-4144-8a7f-648170c8b7b7" providerId="ADAL" clId="{EAE80DB9-CB43-4440-9E5C-0B0573E509B3}" dt="2026-02-10T20:52:36.091" v="48" actId="13244"/>
          <ac:spMkLst>
            <pc:docMk/>
            <pc:sldMk cId="500953402" sldId="4367"/>
            <ac:spMk id="16" creationId="{452A9102-A219-5323-D65A-1CDBD45021B4}"/>
          </ac:spMkLst>
        </pc:spChg>
        <pc:spChg chg="mod ord">
          <ac:chgData name="April Durrence" userId="2314a7d0-99d3-4144-8a7f-648170c8b7b7" providerId="ADAL" clId="{EAE80DB9-CB43-4440-9E5C-0B0573E509B3}" dt="2026-02-10T20:52:36.091" v="48" actId="13244"/>
          <ac:spMkLst>
            <pc:docMk/>
            <pc:sldMk cId="500953402" sldId="4367"/>
            <ac:spMk id="18" creationId="{C8DDC8FA-17BF-74FB-A108-FB19076D2B34}"/>
          </ac:spMkLst>
        </pc:spChg>
        <pc:spChg chg="mod ord">
          <ac:chgData name="April Durrence" userId="2314a7d0-99d3-4144-8a7f-648170c8b7b7" providerId="ADAL" clId="{EAE80DB9-CB43-4440-9E5C-0B0573E509B3}" dt="2026-02-10T20:52:36.091" v="48" actId="13244"/>
          <ac:spMkLst>
            <pc:docMk/>
            <pc:sldMk cId="500953402" sldId="4367"/>
            <ac:spMk id="19" creationId="{066BFF3B-0123-5B39-5214-FEBD60B1578D}"/>
          </ac:spMkLst>
        </pc:spChg>
        <pc:spChg chg="add mod">
          <ac:chgData name="April Durrence" userId="2314a7d0-99d3-4144-8a7f-648170c8b7b7" providerId="ADAL" clId="{EAE80DB9-CB43-4440-9E5C-0B0573E509B3}" dt="2026-02-10T20:51:45.515" v="44" actId="1076"/>
          <ac:spMkLst>
            <pc:docMk/>
            <pc:sldMk cId="500953402" sldId="4367"/>
            <ac:spMk id="20" creationId="{18EB0E24-7EB3-586B-54F2-58B55E6D216D}"/>
          </ac:spMkLst>
        </pc:spChg>
      </pc:sldChg>
      <pc:sldChg chg="addSp delSp modSp mod">
        <pc:chgData name="April Durrence" userId="2314a7d0-99d3-4144-8a7f-648170c8b7b7" providerId="ADAL" clId="{EAE80DB9-CB43-4440-9E5C-0B0573E509B3}" dt="2026-02-12T21:21:52.703" v="2859" actId="962"/>
        <pc:sldMkLst>
          <pc:docMk/>
          <pc:sldMk cId="1991443100" sldId="4368"/>
        </pc:sldMkLst>
        <pc:spChg chg="mod">
          <ac:chgData name="April Durrence" userId="2314a7d0-99d3-4144-8a7f-648170c8b7b7" providerId="ADAL" clId="{EAE80DB9-CB43-4440-9E5C-0B0573E509B3}" dt="2026-02-10T22:07:34.132" v="1908" actId="207"/>
          <ac:spMkLst>
            <pc:docMk/>
            <pc:sldMk cId="1991443100" sldId="4368"/>
            <ac:spMk id="2" creationId="{3F705D28-1F75-A0BC-BA13-09583F4712E8}"/>
          </ac:spMkLst>
        </pc:spChg>
        <pc:spChg chg="mod ord">
          <ac:chgData name="April Durrence" userId="2314a7d0-99d3-4144-8a7f-648170c8b7b7" providerId="ADAL" clId="{EAE80DB9-CB43-4440-9E5C-0B0573E509B3}" dt="2026-02-10T21:55:46.034" v="1473" actId="13244"/>
          <ac:spMkLst>
            <pc:docMk/>
            <pc:sldMk cId="1991443100" sldId="4368"/>
            <ac:spMk id="3" creationId="{3012C352-56E9-E1AF-CA24-FE105FD54399}"/>
          </ac:spMkLst>
        </pc:spChg>
        <pc:spChg chg="add mod ord">
          <ac:chgData name="April Durrence" userId="2314a7d0-99d3-4144-8a7f-648170c8b7b7" providerId="ADAL" clId="{EAE80DB9-CB43-4440-9E5C-0B0573E509B3}" dt="2026-02-10T22:00:12.444" v="1533" actId="13244"/>
          <ac:spMkLst>
            <pc:docMk/>
            <pc:sldMk cId="1991443100" sldId="4368"/>
            <ac:spMk id="4" creationId="{7D975C80-43A5-569D-F176-8DAD4D9B2434}"/>
          </ac:spMkLst>
        </pc:spChg>
        <pc:spChg chg="add mod ord">
          <ac:chgData name="April Durrence" userId="2314a7d0-99d3-4144-8a7f-648170c8b7b7" providerId="ADAL" clId="{EAE80DB9-CB43-4440-9E5C-0B0573E509B3}" dt="2026-02-10T22:00:06.470" v="1532" actId="13244"/>
          <ac:spMkLst>
            <pc:docMk/>
            <pc:sldMk cId="1991443100" sldId="4368"/>
            <ac:spMk id="7" creationId="{E82CE232-13EA-EFA1-6F34-C26121F5F70D}"/>
          </ac:spMkLst>
        </pc:spChg>
        <pc:spChg chg="add mod ord">
          <ac:chgData name="April Durrence" userId="2314a7d0-99d3-4144-8a7f-648170c8b7b7" providerId="ADAL" clId="{EAE80DB9-CB43-4440-9E5C-0B0573E509B3}" dt="2026-02-10T21:59:32.321" v="1525" actId="13244"/>
          <ac:spMkLst>
            <pc:docMk/>
            <pc:sldMk cId="1991443100" sldId="4368"/>
            <ac:spMk id="9" creationId="{11533108-CD9F-DEE1-E0A6-1DC1B1633FDB}"/>
          </ac:spMkLst>
        </pc:spChg>
        <pc:spChg chg="add mod">
          <ac:chgData name="April Durrence" userId="2314a7d0-99d3-4144-8a7f-648170c8b7b7" providerId="ADAL" clId="{EAE80DB9-CB43-4440-9E5C-0B0573E509B3}" dt="2026-02-10T22:04:52.910" v="1552" actId="962"/>
          <ac:spMkLst>
            <pc:docMk/>
            <pc:sldMk cId="1991443100" sldId="4368"/>
            <ac:spMk id="12" creationId="{70F9E31C-E31D-668E-FF64-A756D27A588D}"/>
          </ac:spMkLst>
        </pc:spChg>
        <pc:picChg chg="mod">
          <ac:chgData name="April Durrence" userId="2314a7d0-99d3-4144-8a7f-648170c8b7b7" providerId="ADAL" clId="{EAE80DB9-CB43-4440-9E5C-0B0573E509B3}" dt="2026-02-12T21:21:52.703" v="2859" actId="962"/>
          <ac:picMkLst>
            <pc:docMk/>
            <pc:sldMk cId="1991443100" sldId="4368"/>
            <ac:picMk id="6" creationId="{91ED1A25-B66C-5E13-7EC3-C8F3B275D473}"/>
          </ac:picMkLst>
        </pc:picChg>
        <pc:picChg chg="add del mod">
          <ac:chgData name="April Durrence" userId="2314a7d0-99d3-4144-8a7f-648170c8b7b7" providerId="ADAL" clId="{EAE80DB9-CB43-4440-9E5C-0B0573E509B3}" dt="2026-02-10T21:59:50.110" v="1528" actId="962"/>
          <ac:picMkLst>
            <pc:docMk/>
            <pc:sldMk cId="1991443100" sldId="4368"/>
            <ac:picMk id="8" creationId="{3AFAD1C2-5C50-66BD-9358-99F2BF0F73A0}"/>
          </ac:picMkLst>
        </pc:picChg>
        <pc:picChg chg="mod ord">
          <ac:chgData name="April Durrence" userId="2314a7d0-99d3-4144-8a7f-648170c8b7b7" providerId="ADAL" clId="{EAE80DB9-CB43-4440-9E5C-0B0573E509B3}" dt="2026-02-10T22:07:14.253" v="1907" actId="962"/>
          <ac:picMkLst>
            <pc:docMk/>
            <pc:sldMk cId="1991443100" sldId="4368"/>
            <ac:picMk id="10" creationId="{BC709E5C-4540-330B-C3A3-A8D2AE93BE80}"/>
          </ac:picMkLst>
        </pc:picChg>
        <pc:picChg chg="mod">
          <ac:chgData name="April Durrence" userId="2314a7d0-99d3-4144-8a7f-648170c8b7b7" providerId="ADAL" clId="{EAE80DB9-CB43-4440-9E5C-0B0573E509B3}" dt="2026-02-10T22:05:03.516" v="1553" actId="962"/>
          <ac:picMkLst>
            <pc:docMk/>
            <pc:sldMk cId="1991443100" sldId="4368"/>
            <ac:picMk id="13" creationId="{77E724E8-B427-AB57-AD22-B2DFC8844B3D}"/>
          </ac:picMkLst>
        </pc:picChg>
      </pc:sldChg>
      <pc:sldChg chg="delSp modSp mod">
        <pc:chgData name="April Durrence" userId="2314a7d0-99d3-4144-8a7f-648170c8b7b7" providerId="ADAL" clId="{EAE80DB9-CB43-4440-9E5C-0B0573E509B3}" dt="2026-02-10T21:43:52.018" v="1135" actId="1076"/>
        <pc:sldMkLst>
          <pc:docMk/>
          <pc:sldMk cId="2630493421" sldId="2145704706"/>
        </pc:sldMkLst>
        <pc:spChg chg="mod ord">
          <ac:chgData name="April Durrence" userId="2314a7d0-99d3-4144-8a7f-648170c8b7b7" providerId="ADAL" clId="{EAE80DB9-CB43-4440-9E5C-0B0573E509B3}" dt="2026-02-10T21:43:52.018" v="1135" actId="1076"/>
          <ac:spMkLst>
            <pc:docMk/>
            <pc:sldMk cId="2630493421" sldId="2145704706"/>
            <ac:spMk id="2" creationId="{05512F40-5314-4C92-B98C-D74FC017EB50}"/>
          </ac:spMkLst>
        </pc:spChg>
        <pc:spChg chg="mod ord">
          <ac:chgData name="April Durrence" userId="2314a7d0-99d3-4144-8a7f-648170c8b7b7" providerId="ADAL" clId="{EAE80DB9-CB43-4440-9E5C-0B0573E509B3}" dt="2026-02-10T21:09:08.361" v="290" actId="13244"/>
          <ac:spMkLst>
            <pc:docMk/>
            <pc:sldMk cId="2630493421" sldId="2145704706"/>
            <ac:spMk id="4" creationId="{A5BEC7AD-B2A6-4E9D-84AD-F786F31F3EDE}"/>
          </ac:spMkLst>
        </pc:spChg>
        <pc:spChg chg="ord">
          <ac:chgData name="April Durrence" userId="2314a7d0-99d3-4144-8a7f-648170c8b7b7" providerId="ADAL" clId="{EAE80DB9-CB43-4440-9E5C-0B0573E509B3}" dt="2026-02-10T21:09:59.616" v="296" actId="13244"/>
          <ac:spMkLst>
            <pc:docMk/>
            <pc:sldMk cId="2630493421" sldId="2145704706"/>
            <ac:spMk id="10" creationId="{CBBB265D-C908-5A58-8044-2C18C7CCFB44}"/>
          </ac:spMkLst>
        </pc:spChg>
        <pc:picChg chg="mod">
          <ac:chgData name="April Durrence" userId="2314a7d0-99d3-4144-8a7f-648170c8b7b7" providerId="ADAL" clId="{EAE80DB9-CB43-4440-9E5C-0B0573E509B3}" dt="2026-02-10T20:48:18.124" v="10" actId="962"/>
          <ac:picMkLst>
            <pc:docMk/>
            <pc:sldMk cId="2630493421" sldId="2145704706"/>
            <ac:picMk id="3" creationId="{F8B2B9AA-2ACD-966A-A871-E789210A68C8}"/>
          </ac:picMkLst>
        </pc:picChg>
        <pc:picChg chg="mod">
          <ac:chgData name="April Durrence" userId="2314a7d0-99d3-4144-8a7f-648170c8b7b7" providerId="ADAL" clId="{EAE80DB9-CB43-4440-9E5C-0B0573E509B3}" dt="2026-02-10T21:09:20.989" v="293" actId="962"/>
          <ac:picMkLst>
            <pc:docMk/>
            <pc:sldMk cId="2630493421" sldId="2145704706"/>
            <ac:picMk id="7" creationId="{67953733-06EA-A759-C0CE-F69B48B6F1CD}"/>
          </ac:picMkLst>
        </pc:picChg>
        <pc:picChg chg="mod">
          <ac:chgData name="April Durrence" userId="2314a7d0-99d3-4144-8a7f-648170c8b7b7" providerId="ADAL" clId="{EAE80DB9-CB43-4440-9E5C-0B0573E509B3}" dt="2026-02-10T21:09:17.328" v="292" actId="962"/>
          <ac:picMkLst>
            <pc:docMk/>
            <pc:sldMk cId="2630493421" sldId="2145704706"/>
            <ac:picMk id="8" creationId="{F2CE900B-A071-207B-6394-442FF8D02B8E}"/>
          </ac:picMkLst>
        </pc:picChg>
        <pc:cxnChg chg="mod">
          <ac:chgData name="April Durrence" userId="2314a7d0-99d3-4144-8a7f-648170c8b7b7" providerId="ADAL" clId="{EAE80DB9-CB43-4440-9E5C-0B0573E509B3}" dt="2026-02-10T21:09:13.600" v="291" actId="962"/>
          <ac:cxnSpMkLst>
            <pc:docMk/>
            <pc:sldMk cId="2630493421" sldId="2145704706"/>
            <ac:cxnSpMk id="5" creationId="{3090EF30-4BD5-4989-8BBA-7A2EC017A665}"/>
          </ac:cxnSpMkLst>
        </pc:cxnChg>
      </pc:sldChg>
      <pc:sldChg chg="addSp delSp modSp mod">
        <pc:chgData name="April Durrence" userId="2314a7d0-99d3-4144-8a7f-648170c8b7b7" providerId="ADAL" clId="{EAE80DB9-CB43-4440-9E5C-0B0573E509B3}" dt="2026-02-10T21:45:02.105" v="1141" actId="1076"/>
        <pc:sldMkLst>
          <pc:docMk/>
          <pc:sldMk cId="2203707508" sldId="2145704707"/>
        </pc:sldMkLst>
        <pc:spChg chg="mod ord">
          <ac:chgData name="April Durrence" userId="2314a7d0-99d3-4144-8a7f-648170c8b7b7" providerId="ADAL" clId="{EAE80DB9-CB43-4440-9E5C-0B0573E509B3}" dt="2026-02-10T21:45:02.105" v="1141" actId="1076"/>
          <ac:spMkLst>
            <pc:docMk/>
            <pc:sldMk cId="2203707508" sldId="2145704707"/>
            <ac:spMk id="2" creationId="{05512F40-5314-4C92-B98C-D74FC017EB50}"/>
          </ac:spMkLst>
        </pc:spChg>
        <pc:spChg chg="mod ord">
          <ac:chgData name="April Durrence" userId="2314a7d0-99d3-4144-8a7f-648170c8b7b7" providerId="ADAL" clId="{EAE80DB9-CB43-4440-9E5C-0B0573E509B3}" dt="2026-02-10T21:05:51.313" v="275" actId="13244"/>
          <ac:spMkLst>
            <pc:docMk/>
            <pc:sldMk cId="2203707508" sldId="2145704707"/>
            <ac:spMk id="4" creationId="{A5BEC7AD-B2A6-4E9D-84AD-F786F31F3EDE}"/>
          </ac:spMkLst>
        </pc:spChg>
        <pc:spChg chg="ord">
          <ac:chgData name="April Durrence" userId="2314a7d0-99d3-4144-8a7f-648170c8b7b7" providerId="ADAL" clId="{EAE80DB9-CB43-4440-9E5C-0B0573E509B3}" dt="2026-02-10T21:05:45.626" v="274" actId="13244"/>
          <ac:spMkLst>
            <pc:docMk/>
            <pc:sldMk cId="2203707508" sldId="2145704707"/>
            <ac:spMk id="10" creationId="{CBBB265D-C908-5A58-8044-2C18C7CCFB44}"/>
          </ac:spMkLst>
        </pc:spChg>
        <pc:picChg chg="mod">
          <ac:chgData name="April Durrence" userId="2314a7d0-99d3-4144-8a7f-648170c8b7b7" providerId="ADAL" clId="{EAE80DB9-CB43-4440-9E5C-0B0573E509B3}" dt="2026-02-10T21:04:35.575" v="262" actId="962"/>
          <ac:picMkLst>
            <pc:docMk/>
            <pc:sldMk cId="2203707508" sldId="2145704707"/>
            <ac:picMk id="3" creationId="{F8B2B9AA-2ACD-966A-A871-E789210A68C8}"/>
          </ac:picMkLst>
        </pc:picChg>
        <pc:picChg chg="mod">
          <ac:chgData name="April Durrence" userId="2314a7d0-99d3-4144-8a7f-648170c8b7b7" providerId="ADAL" clId="{EAE80DB9-CB43-4440-9E5C-0B0573E509B3}" dt="2026-02-10T21:04:42.270" v="263" actId="962"/>
          <ac:picMkLst>
            <pc:docMk/>
            <pc:sldMk cId="2203707508" sldId="2145704707"/>
            <ac:picMk id="7" creationId="{67953733-06EA-A759-C0CE-F69B48B6F1CD}"/>
          </ac:picMkLst>
        </pc:picChg>
        <pc:picChg chg="add del mod">
          <ac:chgData name="April Durrence" userId="2314a7d0-99d3-4144-8a7f-648170c8b7b7" providerId="ADAL" clId="{EAE80DB9-CB43-4440-9E5C-0B0573E509B3}" dt="2026-02-10T21:05:12.280" v="269" actId="962"/>
          <ac:picMkLst>
            <pc:docMk/>
            <pc:sldMk cId="2203707508" sldId="2145704707"/>
            <ac:picMk id="8" creationId="{F2CE900B-A071-207B-6394-442FF8D02B8E}"/>
          </ac:picMkLst>
        </pc:picChg>
        <pc:cxnChg chg="mod">
          <ac:chgData name="April Durrence" userId="2314a7d0-99d3-4144-8a7f-648170c8b7b7" providerId="ADAL" clId="{EAE80DB9-CB43-4440-9E5C-0B0573E509B3}" dt="2026-02-10T21:05:54.919" v="276" actId="962"/>
          <ac:cxnSpMkLst>
            <pc:docMk/>
            <pc:sldMk cId="2203707508" sldId="2145704707"/>
            <ac:cxnSpMk id="5" creationId="{3090EF30-4BD5-4989-8BBA-7A2EC017A665}"/>
          </ac:cxnSpMkLst>
        </pc:cxnChg>
      </pc:sldChg>
      <pc:sldChg chg="delSp modSp mod">
        <pc:chgData name="April Durrence" userId="2314a7d0-99d3-4144-8a7f-648170c8b7b7" providerId="ADAL" clId="{EAE80DB9-CB43-4440-9E5C-0B0573E509B3}" dt="2026-02-10T21:45:43.153" v="1146" actId="1076"/>
        <pc:sldMkLst>
          <pc:docMk/>
          <pc:sldMk cId="3942786021" sldId="2145704708"/>
        </pc:sldMkLst>
        <pc:spChg chg="mod ord">
          <ac:chgData name="April Durrence" userId="2314a7d0-99d3-4144-8a7f-648170c8b7b7" providerId="ADAL" clId="{EAE80DB9-CB43-4440-9E5C-0B0573E509B3}" dt="2026-02-10T21:45:43.153" v="1146" actId="1076"/>
          <ac:spMkLst>
            <pc:docMk/>
            <pc:sldMk cId="3942786021" sldId="2145704708"/>
            <ac:spMk id="2" creationId="{05512F40-5314-4C92-B98C-D74FC017EB50}"/>
          </ac:spMkLst>
        </pc:spChg>
        <pc:spChg chg="mod ord">
          <ac:chgData name="April Durrence" userId="2314a7d0-99d3-4144-8a7f-648170c8b7b7" providerId="ADAL" clId="{EAE80DB9-CB43-4440-9E5C-0B0573E509B3}" dt="2026-02-10T21:32:07.803" v="1034" actId="13244"/>
          <ac:spMkLst>
            <pc:docMk/>
            <pc:sldMk cId="3942786021" sldId="2145704708"/>
            <ac:spMk id="4" creationId="{A5BEC7AD-B2A6-4E9D-84AD-F786F31F3EDE}"/>
          </ac:spMkLst>
        </pc:spChg>
        <pc:spChg chg="ord">
          <ac:chgData name="April Durrence" userId="2314a7d0-99d3-4144-8a7f-648170c8b7b7" providerId="ADAL" clId="{EAE80DB9-CB43-4440-9E5C-0B0573E509B3}" dt="2026-02-10T21:32:28.356" v="1038" actId="13244"/>
          <ac:spMkLst>
            <pc:docMk/>
            <pc:sldMk cId="3942786021" sldId="2145704708"/>
            <ac:spMk id="10" creationId="{CBBB265D-C908-5A58-8044-2C18C7CCFB44}"/>
          </ac:spMkLst>
        </pc:spChg>
        <pc:spChg chg="ord">
          <ac:chgData name="April Durrence" userId="2314a7d0-99d3-4144-8a7f-648170c8b7b7" providerId="ADAL" clId="{EAE80DB9-CB43-4440-9E5C-0B0573E509B3}" dt="2026-02-10T21:32:44.250" v="1043" actId="13244"/>
          <ac:spMkLst>
            <pc:docMk/>
            <pc:sldMk cId="3942786021" sldId="2145704708"/>
            <ac:spMk id="36" creationId="{C7C7A680-A0A2-46E4-81B4-0523D4BE3DD5}"/>
          </ac:spMkLst>
        </pc:spChg>
        <pc:picChg chg="mod">
          <ac:chgData name="April Durrence" userId="2314a7d0-99d3-4144-8a7f-648170c8b7b7" providerId="ADAL" clId="{EAE80DB9-CB43-4440-9E5C-0B0573E509B3}" dt="2026-02-10T21:32:01.413" v="1032" actId="962"/>
          <ac:picMkLst>
            <pc:docMk/>
            <pc:sldMk cId="3942786021" sldId="2145704708"/>
            <ac:picMk id="3" creationId="{F8B2B9AA-2ACD-966A-A871-E789210A68C8}"/>
          </ac:picMkLst>
        </pc:picChg>
        <pc:picChg chg="mod">
          <ac:chgData name="April Durrence" userId="2314a7d0-99d3-4144-8a7f-648170c8b7b7" providerId="ADAL" clId="{EAE80DB9-CB43-4440-9E5C-0B0573E509B3}" dt="2026-02-10T21:32:34.471" v="1040" actId="962"/>
          <ac:picMkLst>
            <pc:docMk/>
            <pc:sldMk cId="3942786021" sldId="2145704708"/>
            <ac:picMk id="7" creationId="{67953733-06EA-A759-C0CE-F69B48B6F1CD}"/>
          </ac:picMkLst>
        </pc:picChg>
        <pc:picChg chg="mod">
          <ac:chgData name="April Durrence" userId="2314a7d0-99d3-4144-8a7f-648170c8b7b7" providerId="ADAL" clId="{EAE80DB9-CB43-4440-9E5C-0B0573E509B3}" dt="2026-02-10T21:32:31.981" v="1039" actId="962"/>
          <ac:picMkLst>
            <pc:docMk/>
            <pc:sldMk cId="3942786021" sldId="2145704708"/>
            <ac:picMk id="8" creationId="{F2CE900B-A071-207B-6394-442FF8D02B8E}"/>
          </ac:picMkLst>
        </pc:picChg>
        <pc:cxnChg chg="mod ord">
          <ac:chgData name="April Durrence" userId="2314a7d0-99d3-4144-8a7f-648170c8b7b7" providerId="ADAL" clId="{EAE80DB9-CB43-4440-9E5C-0B0573E509B3}" dt="2026-02-10T21:32:18.298" v="1037" actId="13244"/>
          <ac:cxnSpMkLst>
            <pc:docMk/>
            <pc:sldMk cId="3942786021" sldId="2145704708"/>
            <ac:cxnSpMk id="5" creationId="{3090EF30-4BD5-4989-8BBA-7A2EC017A665}"/>
          </ac:cxnSpMkLst>
        </pc:cxnChg>
      </pc:sldChg>
      <pc:sldChg chg="delSp modSp mod">
        <pc:chgData name="April Durrence" userId="2314a7d0-99d3-4144-8a7f-648170c8b7b7" providerId="ADAL" clId="{EAE80DB9-CB43-4440-9E5C-0B0573E509B3}" dt="2026-02-10T22:08:11.430" v="1918" actId="13244"/>
        <pc:sldMkLst>
          <pc:docMk/>
          <pc:sldMk cId="4241917700" sldId="2145704709"/>
        </pc:sldMkLst>
        <pc:spChg chg="mod ord">
          <ac:chgData name="April Durrence" userId="2314a7d0-99d3-4144-8a7f-648170c8b7b7" providerId="ADAL" clId="{EAE80DB9-CB43-4440-9E5C-0B0573E509B3}" dt="2026-02-10T22:07:54.056" v="1912" actId="13244"/>
          <ac:spMkLst>
            <pc:docMk/>
            <pc:sldMk cId="4241917700" sldId="2145704709"/>
            <ac:spMk id="4" creationId="{A5BEC7AD-B2A6-4E9D-84AD-F786F31F3EDE}"/>
          </ac:spMkLst>
        </pc:spChg>
        <pc:spChg chg="ord">
          <ac:chgData name="April Durrence" userId="2314a7d0-99d3-4144-8a7f-648170c8b7b7" providerId="ADAL" clId="{EAE80DB9-CB43-4440-9E5C-0B0573E509B3}" dt="2026-02-10T22:08:11.430" v="1918" actId="13244"/>
          <ac:spMkLst>
            <pc:docMk/>
            <pc:sldMk cId="4241917700" sldId="2145704709"/>
            <ac:spMk id="10" creationId="{CBBB265D-C908-5A58-8044-2C18C7CCFB44}"/>
          </ac:spMkLst>
        </pc:spChg>
        <pc:spChg chg="mod ord">
          <ac:chgData name="April Durrence" userId="2314a7d0-99d3-4144-8a7f-648170c8b7b7" providerId="ADAL" clId="{EAE80DB9-CB43-4440-9E5C-0B0573E509B3}" dt="2026-02-10T22:07:56.401" v="1913" actId="13244"/>
          <ac:spMkLst>
            <pc:docMk/>
            <pc:sldMk cId="4241917700" sldId="2145704709"/>
            <ac:spMk id="13" creationId="{F764A021-18F7-5A66-97C2-10A0556929C1}"/>
          </ac:spMkLst>
        </pc:spChg>
        <pc:picChg chg="mod">
          <ac:chgData name="April Durrence" userId="2314a7d0-99d3-4144-8a7f-648170c8b7b7" providerId="ADAL" clId="{EAE80DB9-CB43-4440-9E5C-0B0573E509B3}" dt="2026-02-10T22:07:40.467" v="1909" actId="962"/>
          <ac:picMkLst>
            <pc:docMk/>
            <pc:sldMk cId="4241917700" sldId="2145704709"/>
            <ac:picMk id="3" creationId="{F8B2B9AA-2ACD-966A-A871-E789210A68C8}"/>
          </ac:picMkLst>
        </pc:picChg>
        <pc:picChg chg="mod">
          <ac:chgData name="April Durrence" userId="2314a7d0-99d3-4144-8a7f-648170c8b7b7" providerId="ADAL" clId="{EAE80DB9-CB43-4440-9E5C-0B0573E509B3}" dt="2026-02-10T22:08:05.627" v="1916" actId="962"/>
          <ac:picMkLst>
            <pc:docMk/>
            <pc:sldMk cId="4241917700" sldId="2145704709"/>
            <ac:picMk id="7" creationId="{67953733-06EA-A759-C0CE-F69B48B6F1CD}"/>
          </ac:picMkLst>
        </pc:picChg>
        <pc:picChg chg="mod">
          <ac:chgData name="April Durrence" userId="2314a7d0-99d3-4144-8a7f-648170c8b7b7" providerId="ADAL" clId="{EAE80DB9-CB43-4440-9E5C-0B0573E509B3}" dt="2026-02-10T22:08:03.187" v="1915" actId="962"/>
          <ac:picMkLst>
            <pc:docMk/>
            <pc:sldMk cId="4241917700" sldId="2145704709"/>
            <ac:picMk id="8" creationId="{F2CE900B-A071-207B-6394-442FF8D02B8E}"/>
          </ac:picMkLst>
        </pc:picChg>
        <pc:cxnChg chg="mod">
          <ac:chgData name="April Durrence" userId="2314a7d0-99d3-4144-8a7f-648170c8b7b7" providerId="ADAL" clId="{EAE80DB9-CB43-4440-9E5C-0B0573E509B3}" dt="2026-02-10T22:08:00.669" v="1914" actId="962"/>
          <ac:cxnSpMkLst>
            <pc:docMk/>
            <pc:sldMk cId="4241917700" sldId="2145704709"/>
            <ac:cxnSpMk id="5" creationId="{3090EF30-4BD5-4989-8BBA-7A2EC017A665}"/>
          </ac:cxnSpMkLst>
        </pc:cxnChg>
      </pc:sldChg>
      <pc:sldChg chg="delSp modSp mod">
        <pc:chgData name="April Durrence" userId="2314a7d0-99d3-4144-8a7f-648170c8b7b7" providerId="ADAL" clId="{EAE80DB9-CB43-4440-9E5C-0B0573E509B3}" dt="2026-02-10T21:48:06.893" v="1193" actId="13244"/>
        <pc:sldMkLst>
          <pc:docMk/>
          <pc:sldMk cId="2427973658" sldId="2145704710"/>
        </pc:sldMkLst>
        <pc:spChg chg="mod ord">
          <ac:chgData name="April Durrence" userId="2314a7d0-99d3-4144-8a7f-648170c8b7b7" providerId="ADAL" clId="{EAE80DB9-CB43-4440-9E5C-0B0573E509B3}" dt="2026-02-10T21:48:01.734" v="1192" actId="13244"/>
          <ac:spMkLst>
            <pc:docMk/>
            <pc:sldMk cId="2427973658" sldId="2145704710"/>
            <ac:spMk id="2" creationId="{05512F40-5314-4C92-B98C-D74FC017EB50}"/>
          </ac:spMkLst>
        </pc:spChg>
        <pc:spChg chg="mod ord">
          <ac:chgData name="April Durrence" userId="2314a7d0-99d3-4144-8a7f-648170c8b7b7" providerId="ADAL" clId="{EAE80DB9-CB43-4440-9E5C-0B0573E509B3}" dt="2026-02-10T21:47:42.804" v="1187" actId="13244"/>
          <ac:spMkLst>
            <pc:docMk/>
            <pc:sldMk cId="2427973658" sldId="2145704710"/>
            <ac:spMk id="4" creationId="{A5BEC7AD-B2A6-4E9D-84AD-F786F31F3EDE}"/>
          </ac:spMkLst>
        </pc:spChg>
        <pc:spChg chg="ord">
          <ac:chgData name="April Durrence" userId="2314a7d0-99d3-4144-8a7f-648170c8b7b7" providerId="ADAL" clId="{EAE80DB9-CB43-4440-9E5C-0B0573E509B3}" dt="2026-02-10T21:48:06.893" v="1193" actId="13244"/>
          <ac:spMkLst>
            <pc:docMk/>
            <pc:sldMk cId="2427973658" sldId="2145704710"/>
            <ac:spMk id="10" creationId="{CBBB265D-C908-5A58-8044-2C18C7CCFB44}"/>
          </ac:spMkLst>
        </pc:spChg>
        <pc:picChg chg="mod">
          <ac:chgData name="April Durrence" userId="2314a7d0-99d3-4144-8a7f-648170c8b7b7" providerId="ADAL" clId="{EAE80DB9-CB43-4440-9E5C-0B0573E509B3}" dt="2026-02-10T21:47:38.305" v="1185" actId="962"/>
          <ac:picMkLst>
            <pc:docMk/>
            <pc:sldMk cId="2427973658" sldId="2145704710"/>
            <ac:picMk id="3" creationId="{F8B2B9AA-2ACD-966A-A871-E789210A68C8}"/>
          </ac:picMkLst>
        </pc:picChg>
        <pc:picChg chg="mod">
          <ac:chgData name="April Durrence" userId="2314a7d0-99d3-4144-8a7f-648170c8b7b7" providerId="ADAL" clId="{EAE80DB9-CB43-4440-9E5C-0B0573E509B3}" dt="2026-02-10T21:47:54.031" v="1190" actId="962"/>
          <ac:picMkLst>
            <pc:docMk/>
            <pc:sldMk cId="2427973658" sldId="2145704710"/>
            <ac:picMk id="7" creationId="{67953733-06EA-A759-C0CE-F69B48B6F1CD}"/>
          </ac:picMkLst>
        </pc:picChg>
        <pc:picChg chg="mod">
          <ac:chgData name="April Durrence" userId="2314a7d0-99d3-4144-8a7f-648170c8b7b7" providerId="ADAL" clId="{EAE80DB9-CB43-4440-9E5C-0B0573E509B3}" dt="2026-02-10T21:47:51.515" v="1189" actId="962"/>
          <ac:picMkLst>
            <pc:docMk/>
            <pc:sldMk cId="2427973658" sldId="2145704710"/>
            <ac:picMk id="8" creationId="{F2CE900B-A071-207B-6394-442FF8D02B8E}"/>
          </ac:picMkLst>
        </pc:picChg>
        <pc:cxnChg chg="mod">
          <ac:chgData name="April Durrence" userId="2314a7d0-99d3-4144-8a7f-648170c8b7b7" providerId="ADAL" clId="{EAE80DB9-CB43-4440-9E5C-0B0573E509B3}" dt="2026-02-10T21:47:48.506" v="1188" actId="962"/>
          <ac:cxnSpMkLst>
            <pc:docMk/>
            <pc:sldMk cId="2427973658" sldId="2145704710"/>
            <ac:cxnSpMk id="5" creationId="{3090EF30-4BD5-4989-8BBA-7A2EC017A665}"/>
          </ac:cxnSpMkLst>
        </pc:cxnChg>
      </pc:sldChg>
      <pc:sldChg chg="modSp mod">
        <pc:chgData name="April Durrence" userId="2314a7d0-99d3-4144-8a7f-648170c8b7b7" providerId="ADAL" clId="{EAE80DB9-CB43-4440-9E5C-0B0573E509B3}" dt="2026-02-12T20:35:10.284" v="2440" actId="962"/>
        <pc:sldMkLst>
          <pc:docMk/>
          <pc:sldMk cId="2620135710" sldId="2145704712"/>
        </pc:sldMkLst>
        <pc:spChg chg="mod ord">
          <ac:chgData name="April Durrence" userId="2314a7d0-99d3-4144-8a7f-648170c8b7b7" providerId="ADAL" clId="{EAE80DB9-CB43-4440-9E5C-0B0573E509B3}" dt="2026-02-10T22:08:53.974" v="1923" actId="13244"/>
          <ac:spMkLst>
            <pc:docMk/>
            <pc:sldMk cId="2620135710" sldId="2145704712"/>
            <ac:spMk id="3" creationId="{DF84291D-3909-C34C-6F6D-59FE02B80521}"/>
          </ac:spMkLst>
        </pc:spChg>
        <pc:spChg chg="mod ord">
          <ac:chgData name="April Durrence" userId="2314a7d0-99d3-4144-8a7f-648170c8b7b7" providerId="ADAL" clId="{EAE80DB9-CB43-4440-9E5C-0B0573E509B3}" dt="2026-02-10T22:09:01.133" v="1925" actId="14100"/>
          <ac:spMkLst>
            <pc:docMk/>
            <pc:sldMk cId="2620135710" sldId="2145704712"/>
            <ac:spMk id="7" creationId="{1B6F7A91-CA9D-B154-1B39-A6880F480D90}"/>
          </ac:spMkLst>
        </pc:spChg>
        <pc:picChg chg="mod">
          <ac:chgData name="April Durrence" userId="2314a7d0-99d3-4144-8a7f-648170c8b7b7" providerId="ADAL" clId="{EAE80DB9-CB43-4440-9E5C-0B0573E509B3}" dt="2026-02-12T20:35:10.284" v="2440" actId="962"/>
          <ac:picMkLst>
            <pc:docMk/>
            <pc:sldMk cId="2620135710" sldId="2145704712"/>
            <ac:picMk id="5" creationId="{0D7664CF-06F6-2ADE-051C-3A90ECA62DFB}"/>
          </ac:picMkLst>
        </pc:picChg>
      </pc:sldChg>
      <pc:sldChg chg="addSp delSp modSp mod">
        <pc:chgData name="April Durrence" userId="2314a7d0-99d3-4144-8a7f-648170c8b7b7" providerId="ADAL" clId="{EAE80DB9-CB43-4440-9E5C-0B0573E509B3}" dt="2026-02-12T20:54:35.483" v="2723" actId="20577"/>
        <pc:sldMkLst>
          <pc:docMk/>
          <pc:sldMk cId="1978613194" sldId="2145704713"/>
        </pc:sldMkLst>
        <pc:spChg chg="mod ord">
          <ac:chgData name="April Durrence" userId="2314a7d0-99d3-4144-8a7f-648170c8b7b7" providerId="ADAL" clId="{EAE80DB9-CB43-4440-9E5C-0B0573E509B3}" dt="2026-02-10T22:20:45.273" v="2080" actId="13244"/>
          <ac:spMkLst>
            <pc:docMk/>
            <pc:sldMk cId="1978613194" sldId="2145704713"/>
            <ac:spMk id="4" creationId="{01C7C801-8596-D43F-784E-DC368E64E0A8}"/>
          </ac:spMkLst>
        </pc:spChg>
        <pc:spChg chg="mod">
          <ac:chgData name="April Durrence" userId="2314a7d0-99d3-4144-8a7f-648170c8b7b7" providerId="ADAL" clId="{EAE80DB9-CB43-4440-9E5C-0B0573E509B3}" dt="2026-02-10T22:20:41.563" v="2078" actId="207"/>
          <ac:spMkLst>
            <pc:docMk/>
            <pc:sldMk cId="1978613194" sldId="2145704713"/>
            <ac:spMk id="11" creationId="{2C7FA7E6-9A06-DBE3-3B38-373D42DC405D}"/>
          </ac:spMkLst>
        </pc:spChg>
        <pc:graphicFrameChg chg="add mod modGraphic">
          <ac:chgData name="April Durrence" userId="2314a7d0-99d3-4144-8a7f-648170c8b7b7" providerId="ADAL" clId="{EAE80DB9-CB43-4440-9E5C-0B0573E509B3}" dt="2026-02-12T20:54:35.483" v="2723" actId="20577"/>
          <ac:graphicFrameMkLst>
            <pc:docMk/>
            <pc:sldMk cId="1978613194" sldId="2145704713"/>
            <ac:graphicFrameMk id="5" creationId="{CFD3705C-8E73-AEB2-74F0-9A609408CB71}"/>
          </ac:graphicFrameMkLst>
        </pc:graphicFrameChg>
        <pc:picChg chg="add mod">
          <ac:chgData name="April Durrence" userId="2314a7d0-99d3-4144-8a7f-648170c8b7b7" providerId="ADAL" clId="{EAE80DB9-CB43-4440-9E5C-0B0573E509B3}" dt="2026-02-12T20:54:18.053" v="2718" actId="962"/>
          <ac:picMkLst>
            <pc:docMk/>
            <pc:sldMk cId="1978613194" sldId="2145704713"/>
            <ac:picMk id="2" creationId="{78026C74-14E5-27E2-3C84-B31820CF65DD}"/>
          </ac:picMkLst>
        </pc:picChg>
      </pc:sldChg>
      <pc:sldChg chg="modSp mod">
        <pc:chgData name="April Durrence" userId="2314a7d0-99d3-4144-8a7f-648170c8b7b7" providerId="ADAL" clId="{EAE80DB9-CB43-4440-9E5C-0B0573E509B3}" dt="2026-02-10T22:22:27.673" v="2188" actId="962"/>
        <pc:sldMkLst>
          <pc:docMk/>
          <pc:sldMk cId="2319103418" sldId="2145704714"/>
        </pc:sldMkLst>
        <pc:spChg chg="mod ord">
          <ac:chgData name="April Durrence" userId="2314a7d0-99d3-4144-8a7f-648170c8b7b7" providerId="ADAL" clId="{EAE80DB9-CB43-4440-9E5C-0B0573E509B3}" dt="2026-02-10T22:18:18.218" v="2057" actId="13244"/>
          <ac:spMkLst>
            <pc:docMk/>
            <pc:sldMk cId="2319103418" sldId="2145704714"/>
            <ac:spMk id="4" creationId="{DEE3B9E1-789E-00F2-7878-D3CE3AE9AFAA}"/>
          </ac:spMkLst>
        </pc:spChg>
        <pc:spChg chg="mod">
          <ac:chgData name="April Durrence" userId="2314a7d0-99d3-4144-8a7f-648170c8b7b7" providerId="ADAL" clId="{EAE80DB9-CB43-4440-9E5C-0B0573E509B3}" dt="2026-02-10T22:18:21.281" v="2058" actId="207"/>
          <ac:spMkLst>
            <pc:docMk/>
            <pc:sldMk cId="2319103418" sldId="2145704714"/>
            <ac:spMk id="11" creationId="{E1545830-FCA0-2867-1D47-911AB32ECF8E}"/>
          </ac:spMkLst>
        </pc:spChg>
        <pc:picChg chg="mod">
          <ac:chgData name="April Durrence" userId="2314a7d0-99d3-4144-8a7f-648170c8b7b7" providerId="ADAL" clId="{EAE80DB9-CB43-4440-9E5C-0B0573E509B3}" dt="2026-02-10T22:22:27.673" v="2188" actId="962"/>
          <ac:picMkLst>
            <pc:docMk/>
            <pc:sldMk cId="2319103418" sldId="2145704714"/>
            <ac:picMk id="2" creationId="{17EA51C1-53B0-C276-3148-E125641CEA40}"/>
          </ac:picMkLst>
        </pc:picChg>
      </pc:sldChg>
      <pc:sldChg chg="modSp mod">
        <pc:chgData name="April Durrence" userId="2314a7d0-99d3-4144-8a7f-648170c8b7b7" providerId="ADAL" clId="{EAE80DB9-CB43-4440-9E5C-0B0573E509B3}" dt="2026-02-10T22:17:39.707" v="2029" actId="207"/>
        <pc:sldMkLst>
          <pc:docMk/>
          <pc:sldMk cId="3771497507" sldId="2145704715"/>
        </pc:sldMkLst>
        <pc:spChg chg="mod ord">
          <ac:chgData name="April Durrence" userId="2314a7d0-99d3-4144-8a7f-648170c8b7b7" providerId="ADAL" clId="{EAE80DB9-CB43-4440-9E5C-0B0573E509B3}" dt="2026-02-10T22:17:22.772" v="2026" actId="13244"/>
          <ac:spMkLst>
            <pc:docMk/>
            <pc:sldMk cId="3771497507" sldId="2145704715"/>
            <ac:spMk id="4" creationId="{D9FFE984-D023-CDC5-8B59-A099BE5A005F}"/>
          </ac:spMkLst>
        </pc:spChg>
        <pc:spChg chg="mod">
          <ac:chgData name="April Durrence" userId="2314a7d0-99d3-4144-8a7f-648170c8b7b7" providerId="ADAL" clId="{EAE80DB9-CB43-4440-9E5C-0B0573E509B3}" dt="2026-02-10T22:17:39.707" v="2029" actId="207"/>
          <ac:spMkLst>
            <pc:docMk/>
            <pc:sldMk cId="3771497507" sldId="2145704715"/>
            <ac:spMk id="11" creationId="{4B940038-C8C6-331A-B926-D2C5E2E73E63}"/>
          </ac:spMkLst>
        </pc:spChg>
      </pc:sldChg>
      <pc:sldChg chg="modSp mod">
        <pc:chgData name="April Durrence" userId="2314a7d0-99d3-4144-8a7f-648170c8b7b7" providerId="ADAL" clId="{EAE80DB9-CB43-4440-9E5C-0B0573E509B3}" dt="2026-02-10T22:17:35.524" v="2028" actId="207"/>
        <pc:sldMkLst>
          <pc:docMk/>
          <pc:sldMk cId="1156642761" sldId="2145704716"/>
        </pc:sldMkLst>
        <pc:spChg chg="mod ord">
          <ac:chgData name="April Durrence" userId="2314a7d0-99d3-4144-8a7f-648170c8b7b7" providerId="ADAL" clId="{EAE80DB9-CB43-4440-9E5C-0B0573E509B3}" dt="2026-02-10T22:17:04.061" v="2009" actId="13244"/>
          <ac:spMkLst>
            <pc:docMk/>
            <pc:sldMk cId="1156642761" sldId="2145704716"/>
            <ac:spMk id="4" creationId="{49CEF015-484D-8D4A-8F55-DFA7AE295530}"/>
          </ac:spMkLst>
        </pc:spChg>
        <pc:spChg chg="mod">
          <ac:chgData name="April Durrence" userId="2314a7d0-99d3-4144-8a7f-648170c8b7b7" providerId="ADAL" clId="{EAE80DB9-CB43-4440-9E5C-0B0573E509B3}" dt="2026-02-10T22:17:35.524" v="2028" actId="207"/>
          <ac:spMkLst>
            <pc:docMk/>
            <pc:sldMk cId="1156642761" sldId="2145704716"/>
            <ac:spMk id="11" creationId="{E514AFAA-00BA-7973-B017-06E77EE3DFFD}"/>
          </ac:spMkLst>
        </pc:spChg>
      </pc:sldChg>
      <pc:sldChg chg="modSp mod">
        <pc:chgData name="April Durrence" userId="2314a7d0-99d3-4144-8a7f-648170c8b7b7" providerId="ADAL" clId="{EAE80DB9-CB43-4440-9E5C-0B0573E509B3}" dt="2026-02-10T22:17:31.610" v="2027" actId="207"/>
        <pc:sldMkLst>
          <pc:docMk/>
          <pc:sldMk cId="1279239426" sldId="2145704717"/>
        </pc:sldMkLst>
        <pc:spChg chg="mod ord">
          <ac:chgData name="April Durrence" userId="2314a7d0-99d3-4144-8a7f-648170c8b7b7" providerId="ADAL" clId="{EAE80DB9-CB43-4440-9E5C-0B0573E509B3}" dt="2026-02-10T22:16:55.476" v="2007" actId="13244"/>
          <ac:spMkLst>
            <pc:docMk/>
            <pc:sldMk cId="1279239426" sldId="2145704717"/>
            <ac:spMk id="4" creationId="{7673DDDD-C19C-7CEC-FCB4-6536E0357966}"/>
          </ac:spMkLst>
        </pc:spChg>
        <pc:spChg chg="mod">
          <ac:chgData name="April Durrence" userId="2314a7d0-99d3-4144-8a7f-648170c8b7b7" providerId="ADAL" clId="{EAE80DB9-CB43-4440-9E5C-0B0573E509B3}" dt="2026-02-10T22:17:31.610" v="2027" actId="207"/>
          <ac:spMkLst>
            <pc:docMk/>
            <pc:sldMk cId="1279239426" sldId="2145704717"/>
            <ac:spMk id="11" creationId="{DDD22E0C-DAD6-4F2E-D237-EEEA2B11347F}"/>
          </ac:spMkLst>
        </pc:spChg>
        <pc:graphicFrameChg chg="mod modGraphic">
          <ac:chgData name="April Durrence" userId="2314a7d0-99d3-4144-8a7f-648170c8b7b7" providerId="ADAL" clId="{EAE80DB9-CB43-4440-9E5C-0B0573E509B3}" dt="2026-02-10T22:16:31.175" v="1991" actId="20577"/>
          <ac:graphicFrameMkLst>
            <pc:docMk/>
            <pc:sldMk cId="1279239426" sldId="2145704717"/>
            <ac:graphicFrameMk id="3" creationId="{279CA5D0-0685-2DA6-2F62-C326884F83A6}"/>
          </ac:graphicFrameMkLst>
        </pc:graphicFrameChg>
      </pc:sldChg>
      <pc:sldChg chg="modSp new mod">
        <pc:chgData name="April Durrence" userId="2314a7d0-99d3-4144-8a7f-648170c8b7b7" providerId="ADAL" clId="{EAE80DB9-CB43-4440-9E5C-0B0573E509B3}" dt="2026-02-10T21:38:15.736" v="1092" actId="113"/>
        <pc:sldMkLst>
          <pc:docMk/>
          <pc:sldMk cId="3115348587" sldId="2145704718"/>
        </pc:sldMkLst>
        <pc:spChg chg="mod">
          <ac:chgData name="April Durrence" userId="2314a7d0-99d3-4144-8a7f-648170c8b7b7" providerId="ADAL" clId="{EAE80DB9-CB43-4440-9E5C-0B0573E509B3}" dt="2026-02-10T21:37:33.936" v="1088" actId="207"/>
          <ac:spMkLst>
            <pc:docMk/>
            <pc:sldMk cId="3115348587" sldId="2145704718"/>
            <ac:spMk id="2" creationId="{F18329A8-3BAF-0D4F-633C-9B8CF8EACCDD}"/>
          </ac:spMkLst>
        </pc:spChg>
        <pc:spChg chg="mod">
          <ac:chgData name="April Durrence" userId="2314a7d0-99d3-4144-8a7f-648170c8b7b7" providerId="ADAL" clId="{EAE80DB9-CB43-4440-9E5C-0B0573E509B3}" dt="2026-02-10T21:38:15.736" v="1092" actId="113"/>
          <ac:spMkLst>
            <pc:docMk/>
            <pc:sldMk cId="3115348587" sldId="2145704718"/>
            <ac:spMk id="3" creationId="{329E45C9-0304-CF89-4A64-1A264FBD4830}"/>
          </ac:spMkLst>
        </pc:spChg>
      </pc:sldChg>
      <pc:sldMasterChg chg="modSldLayout">
        <pc:chgData name="April Durrence" userId="2314a7d0-99d3-4144-8a7f-648170c8b7b7" providerId="ADAL" clId="{EAE80DB9-CB43-4440-9E5C-0B0573E509B3}" dt="2026-02-10T21:13:20.508" v="317" actId="962"/>
        <pc:sldMasterMkLst>
          <pc:docMk/>
          <pc:sldMasterMk cId="1099912888" sldId="2147483660"/>
        </pc:sldMasterMkLst>
        <pc:sldLayoutChg chg="modSp mod">
          <pc:chgData name="April Durrence" userId="2314a7d0-99d3-4144-8a7f-648170c8b7b7" providerId="ADAL" clId="{EAE80DB9-CB43-4440-9E5C-0B0573E509B3}" dt="2026-02-10T21:10:45.791" v="299" actId="962"/>
          <pc:sldLayoutMkLst>
            <pc:docMk/>
            <pc:sldMasterMk cId="1099912888" sldId="2147483660"/>
            <pc:sldLayoutMk cId="126902596" sldId="2147483661"/>
          </pc:sldLayoutMkLst>
          <pc:spChg chg="mod">
            <ac:chgData name="April Durrence" userId="2314a7d0-99d3-4144-8a7f-648170c8b7b7" providerId="ADAL" clId="{EAE80DB9-CB43-4440-9E5C-0B0573E509B3}" dt="2026-02-10T21:10:43.191" v="298" actId="962"/>
            <ac:spMkLst>
              <pc:docMk/>
              <pc:sldMasterMk cId="1099912888" sldId="2147483660"/>
              <pc:sldLayoutMk cId="126902596" sldId="2147483661"/>
              <ac:spMk id="8" creationId="{D8A6571A-D1BC-45D9-8BBE-1E74645F13D0}"/>
            </ac:spMkLst>
          </pc:spChg>
          <pc:cxnChg chg="mod">
            <ac:chgData name="April Durrence" userId="2314a7d0-99d3-4144-8a7f-648170c8b7b7" providerId="ADAL" clId="{EAE80DB9-CB43-4440-9E5C-0B0573E509B3}" dt="2026-02-10T21:10:45.791" v="299" actId="962"/>
            <ac:cxnSpMkLst>
              <pc:docMk/>
              <pc:sldMasterMk cId="1099912888" sldId="2147483660"/>
              <pc:sldLayoutMk cId="126902596" sldId="2147483661"/>
              <ac:cxnSpMk id="7" creationId="{6D1613E9-4864-49B9-9B75-7F065C1974CB}"/>
            </ac:cxnSpMkLst>
          </pc:cxnChg>
        </pc:sldLayoutChg>
        <pc:sldLayoutChg chg="modSp mod">
          <pc:chgData name="April Durrence" userId="2314a7d0-99d3-4144-8a7f-648170c8b7b7" providerId="ADAL" clId="{EAE80DB9-CB43-4440-9E5C-0B0573E509B3}" dt="2026-02-10T21:11:31.298" v="304" actId="962"/>
          <pc:sldLayoutMkLst>
            <pc:docMk/>
            <pc:sldMasterMk cId="1099912888" sldId="2147483660"/>
            <pc:sldLayoutMk cId="2227355784" sldId="2147483662"/>
          </pc:sldLayoutMkLst>
          <pc:spChg chg="mod">
            <ac:chgData name="April Durrence" userId="2314a7d0-99d3-4144-8a7f-648170c8b7b7" providerId="ADAL" clId="{EAE80DB9-CB43-4440-9E5C-0B0573E509B3}" dt="2026-02-10T21:11:31.298" v="304" actId="962"/>
            <ac:spMkLst>
              <pc:docMk/>
              <pc:sldMasterMk cId="1099912888" sldId="2147483660"/>
              <pc:sldLayoutMk cId="2227355784" sldId="2147483662"/>
              <ac:spMk id="6" creationId="{00000000-0000-0000-0000-000000000000}"/>
            </ac:spMkLst>
          </pc:spChg>
        </pc:sldLayoutChg>
        <pc:sldLayoutChg chg="addSp delSp modSp mod">
          <pc:chgData name="April Durrence" userId="2314a7d0-99d3-4144-8a7f-648170c8b7b7" providerId="ADAL" clId="{EAE80DB9-CB43-4440-9E5C-0B0573E509B3}" dt="2026-02-10T21:12:13.570" v="312" actId="478"/>
          <pc:sldLayoutMkLst>
            <pc:docMk/>
            <pc:sldMasterMk cId="1099912888" sldId="2147483660"/>
            <pc:sldLayoutMk cId="3848586745" sldId="2147483663"/>
          </pc:sldLayoutMkLst>
          <pc:spChg chg="mod">
            <ac:chgData name="April Durrence" userId="2314a7d0-99d3-4144-8a7f-648170c8b7b7" providerId="ADAL" clId="{EAE80DB9-CB43-4440-9E5C-0B0573E509B3}" dt="2026-02-10T21:12:01.334" v="309" actId="1076"/>
            <ac:spMkLst>
              <pc:docMk/>
              <pc:sldMasterMk cId="1099912888" sldId="2147483660"/>
              <pc:sldLayoutMk cId="3848586745" sldId="2147483663"/>
              <ac:spMk id="3" creationId="{00000000-0000-0000-0000-000000000000}"/>
            </ac:spMkLst>
          </pc:spChg>
          <pc:spChg chg="add del mod">
            <ac:chgData name="April Durrence" userId="2314a7d0-99d3-4144-8a7f-648170c8b7b7" providerId="ADAL" clId="{EAE80DB9-CB43-4440-9E5C-0B0573E509B3}" dt="2026-02-10T21:12:13.570" v="312" actId="478"/>
            <ac:spMkLst>
              <pc:docMk/>
              <pc:sldMasterMk cId="1099912888" sldId="2147483660"/>
              <pc:sldLayoutMk cId="3848586745" sldId="2147483663"/>
              <ac:spMk id="4" creationId="{5EAD31AA-A215-4AD4-8513-DE9542D0462B}"/>
            </ac:spMkLst>
          </pc:spChg>
          <pc:spChg chg="mod">
            <ac:chgData name="April Durrence" userId="2314a7d0-99d3-4144-8a7f-648170c8b7b7" providerId="ADAL" clId="{EAE80DB9-CB43-4440-9E5C-0B0573E509B3}" dt="2026-02-10T21:11:44.218" v="305" actId="962"/>
            <ac:spMkLst>
              <pc:docMk/>
              <pc:sldMasterMk cId="1099912888" sldId="2147483660"/>
              <pc:sldLayoutMk cId="3848586745" sldId="2147483663"/>
              <ac:spMk id="9" creationId="{67DA7167-FFE4-4582-A328-DC802BCFC19D}"/>
            </ac:spMkLst>
          </pc:spChg>
          <pc:picChg chg="mod">
            <ac:chgData name="April Durrence" userId="2314a7d0-99d3-4144-8a7f-648170c8b7b7" providerId="ADAL" clId="{EAE80DB9-CB43-4440-9E5C-0B0573E509B3}" dt="2026-02-10T21:11:48.292" v="306" actId="962"/>
            <ac:picMkLst>
              <pc:docMk/>
              <pc:sldMasterMk cId="1099912888" sldId="2147483660"/>
              <pc:sldLayoutMk cId="3848586745" sldId="2147483663"/>
              <ac:picMk id="8" creationId="{282B0CDB-D6D0-446A-A742-38E325BB9914}"/>
            </ac:picMkLst>
          </pc:picChg>
        </pc:sldLayoutChg>
        <pc:sldLayoutChg chg="modSp mod">
          <pc:chgData name="April Durrence" userId="2314a7d0-99d3-4144-8a7f-648170c8b7b7" providerId="ADAL" clId="{EAE80DB9-CB43-4440-9E5C-0B0573E509B3}" dt="2026-02-10T21:11:18.040" v="303" actId="962"/>
          <pc:sldLayoutMkLst>
            <pc:docMk/>
            <pc:sldMasterMk cId="1099912888" sldId="2147483660"/>
            <pc:sldLayoutMk cId="1048183833" sldId="2147483664"/>
          </pc:sldLayoutMkLst>
          <pc:spChg chg="mod">
            <ac:chgData name="April Durrence" userId="2314a7d0-99d3-4144-8a7f-648170c8b7b7" providerId="ADAL" clId="{EAE80DB9-CB43-4440-9E5C-0B0573E509B3}" dt="2026-02-10T21:11:09.688" v="301" actId="962"/>
            <ac:spMkLst>
              <pc:docMk/>
              <pc:sldMasterMk cId="1099912888" sldId="2147483660"/>
              <pc:sldLayoutMk cId="1048183833" sldId="2147483664"/>
              <ac:spMk id="9" creationId="{B8C1A067-A893-4279-B308-9FFC75BAE3A7}"/>
            </ac:spMkLst>
          </pc:spChg>
          <pc:spChg chg="mod">
            <ac:chgData name="April Durrence" userId="2314a7d0-99d3-4144-8a7f-648170c8b7b7" providerId="ADAL" clId="{EAE80DB9-CB43-4440-9E5C-0B0573E509B3}" dt="2026-02-10T21:11:18.040" v="303" actId="962"/>
            <ac:spMkLst>
              <pc:docMk/>
              <pc:sldMasterMk cId="1099912888" sldId="2147483660"/>
              <pc:sldLayoutMk cId="1048183833" sldId="2147483664"/>
              <ac:spMk id="13" creationId="{92A48370-7C5A-4169-8F25-83F3E0011A48}"/>
            </ac:spMkLst>
          </pc:spChg>
          <pc:picChg chg="mod">
            <ac:chgData name="April Durrence" userId="2314a7d0-99d3-4144-8a7f-648170c8b7b7" providerId="ADAL" clId="{EAE80DB9-CB43-4440-9E5C-0B0573E509B3}" dt="2026-02-10T21:11:13.364" v="302" actId="962"/>
            <ac:picMkLst>
              <pc:docMk/>
              <pc:sldMasterMk cId="1099912888" sldId="2147483660"/>
              <pc:sldLayoutMk cId="1048183833" sldId="2147483664"/>
              <ac:picMk id="6" creationId="{9C13B26E-07ED-40EB-ADD6-4035AB4D6A18}"/>
            </ac:picMkLst>
          </pc:picChg>
        </pc:sldLayoutChg>
        <pc:sldLayoutChg chg="modSp mod">
          <pc:chgData name="April Durrence" userId="2314a7d0-99d3-4144-8a7f-648170c8b7b7" providerId="ADAL" clId="{EAE80DB9-CB43-4440-9E5C-0B0573E509B3}" dt="2026-02-10T21:12:38.738" v="313" actId="962"/>
          <pc:sldLayoutMkLst>
            <pc:docMk/>
            <pc:sldMasterMk cId="1099912888" sldId="2147483660"/>
            <pc:sldLayoutMk cId="3388845808" sldId="2147483666"/>
          </pc:sldLayoutMkLst>
          <pc:spChg chg="mod">
            <ac:chgData name="April Durrence" userId="2314a7d0-99d3-4144-8a7f-648170c8b7b7" providerId="ADAL" clId="{EAE80DB9-CB43-4440-9E5C-0B0573E509B3}" dt="2026-02-10T21:12:38.738" v="313" actId="962"/>
            <ac:spMkLst>
              <pc:docMk/>
              <pc:sldMasterMk cId="1099912888" sldId="2147483660"/>
              <pc:sldLayoutMk cId="3388845808" sldId="2147483666"/>
              <ac:spMk id="6" creationId="{2DEEBEAB-2AEE-49D4-BDC3-BD9DF50C1C6D}"/>
            </ac:spMkLst>
          </pc:spChg>
        </pc:sldLayoutChg>
        <pc:sldLayoutChg chg="delSp modSp mod">
          <pc:chgData name="April Durrence" userId="2314a7d0-99d3-4144-8a7f-648170c8b7b7" providerId="ADAL" clId="{EAE80DB9-CB43-4440-9E5C-0B0573E509B3}" dt="2026-02-10T21:13:20.508" v="317" actId="962"/>
          <pc:sldLayoutMkLst>
            <pc:docMk/>
            <pc:sldMasterMk cId="1099912888" sldId="2147483660"/>
            <pc:sldLayoutMk cId="3920011961" sldId="2147483669"/>
          </pc:sldLayoutMkLst>
          <pc:spChg chg="mod">
            <ac:chgData name="April Durrence" userId="2314a7d0-99d3-4144-8a7f-648170c8b7b7" providerId="ADAL" clId="{EAE80DB9-CB43-4440-9E5C-0B0573E509B3}" dt="2026-02-10T21:13:20.508" v="317" actId="962"/>
            <ac:spMkLst>
              <pc:docMk/>
              <pc:sldMasterMk cId="1099912888" sldId="2147483660"/>
              <pc:sldLayoutMk cId="3920011961" sldId="2147483669"/>
              <ac:spMk id="6" creationId="{7B330FE5-D279-49E2-BA0B-8057E5EEFBDE}"/>
            </ac:spMkLst>
          </pc:spChg>
          <pc:spChg chg="mod">
            <ac:chgData name="April Durrence" userId="2314a7d0-99d3-4144-8a7f-648170c8b7b7" providerId="ADAL" clId="{EAE80DB9-CB43-4440-9E5C-0B0573E509B3}" dt="2026-02-10T21:13:03.754" v="314" actId="962"/>
            <ac:spMkLst>
              <pc:docMk/>
              <pc:sldMasterMk cId="1099912888" sldId="2147483660"/>
              <pc:sldLayoutMk cId="3920011961" sldId="2147483669"/>
              <ac:spMk id="8" creationId="{87825C70-D5A5-436D-AACB-4CFC723B82D7}"/>
            </ac:spMkLst>
          </pc:spChg>
          <pc:picChg chg="mod">
            <ac:chgData name="April Durrence" userId="2314a7d0-99d3-4144-8a7f-648170c8b7b7" providerId="ADAL" clId="{EAE80DB9-CB43-4440-9E5C-0B0573E509B3}" dt="2026-02-10T21:13:15.567" v="316" actId="962"/>
            <ac:picMkLst>
              <pc:docMk/>
              <pc:sldMasterMk cId="1099912888" sldId="2147483660"/>
              <pc:sldLayoutMk cId="3920011961" sldId="2147483669"/>
              <ac:picMk id="7" creationId="{FE5DE318-13A6-471E-AE4F-2C86C9804CAC}"/>
            </ac:picMkLst>
          </pc:picChg>
        </pc:sldLayoutChg>
      </pc:sldMasterChg>
      <pc:sldMasterChg chg="modSldLayout">
        <pc:chgData name="April Durrence" userId="2314a7d0-99d3-4144-8a7f-648170c8b7b7" providerId="ADAL" clId="{EAE80DB9-CB43-4440-9E5C-0B0573E509B3}" dt="2026-02-10T21:14:06.985" v="319" actId="962"/>
        <pc:sldMasterMkLst>
          <pc:docMk/>
          <pc:sldMasterMk cId="1099912888" sldId="2147483688"/>
        </pc:sldMasterMkLst>
        <pc:sldLayoutChg chg="modSp mod">
          <pc:chgData name="April Durrence" userId="2314a7d0-99d3-4144-8a7f-648170c8b7b7" providerId="ADAL" clId="{EAE80DB9-CB43-4440-9E5C-0B0573E509B3}" dt="2026-02-10T21:14:06.985" v="319" actId="962"/>
          <pc:sldLayoutMkLst>
            <pc:docMk/>
            <pc:sldMasterMk cId="1099912888" sldId="2147483688"/>
            <pc:sldLayoutMk cId="2227355784" sldId="2147483690"/>
          </pc:sldLayoutMkLst>
          <pc:spChg chg="mod">
            <ac:chgData name="April Durrence" userId="2314a7d0-99d3-4144-8a7f-648170c8b7b7" providerId="ADAL" clId="{EAE80DB9-CB43-4440-9E5C-0B0573E509B3}" dt="2026-02-10T21:14:06.985" v="319" actId="962"/>
            <ac:spMkLst>
              <pc:docMk/>
              <pc:sldMasterMk cId="1099912888" sldId="2147483688"/>
              <pc:sldLayoutMk cId="2227355784" sldId="2147483690"/>
              <ac:spMk id="6" creationId="{00000000-0000-0000-0000-000000000000}"/>
            </ac:spMkLst>
          </pc:spChg>
        </pc:sldLayoutChg>
      </pc:sldMasterChg>
      <pc:sldMasterChg chg="modSldLayout">
        <pc:chgData name="April Durrence" userId="2314a7d0-99d3-4144-8a7f-648170c8b7b7" providerId="ADAL" clId="{EAE80DB9-CB43-4440-9E5C-0B0573E509B3}" dt="2026-02-10T21:14:53.853" v="325" actId="962"/>
        <pc:sldMasterMkLst>
          <pc:docMk/>
          <pc:sldMasterMk cId="2991841614" sldId="2147483701"/>
        </pc:sldMasterMkLst>
        <pc:sldLayoutChg chg="addSp delSp modSp mod">
          <pc:chgData name="April Durrence" userId="2314a7d0-99d3-4144-8a7f-648170c8b7b7" providerId="ADAL" clId="{EAE80DB9-CB43-4440-9E5C-0B0573E509B3}" dt="2026-02-10T21:14:53.853" v="325" actId="962"/>
          <pc:sldLayoutMkLst>
            <pc:docMk/>
            <pc:sldMasterMk cId="2991841614" sldId="2147483701"/>
            <pc:sldLayoutMk cId="3605282969" sldId="2147483704"/>
          </pc:sldLayoutMkLst>
          <pc:spChg chg="mod">
            <ac:chgData name="April Durrence" userId="2314a7d0-99d3-4144-8a7f-648170c8b7b7" providerId="ADAL" clId="{EAE80DB9-CB43-4440-9E5C-0B0573E509B3}" dt="2026-02-10T21:14:46.412" v="322" actId="962"/>
            <ac:spMkLst>
              <pc:docMk/>
              <pc:sldMasterMk cId="2991841614" sldId="2147483701"/>
              <pc:sldLayoutMk cId="3605282969" sldId="2147483704"/>
              <ac:spMk id="4" creationId="{5EAD31AA-A215-4AD4-8513-DE9542D0462B}"/>
            </ac:spMkLst>
          </pc:spChg>
          <pc:spChg chg="add del mod">
            <ac:chgData name="April Durrence" userId="2314a7d0-99d3-4144-8a7f-648170c8b7b7" providerId="ADAL" clId="{EAE80DB9-CB43-4440-9E5C-0B0573E509B3}" dt="2026-02-10T21:14:53.853" v="325" actId="962"/>
            <ac:spMkLst>
              <pc:docMk/>
              <pc:sldMasterMk cId="2991841614" sldId="2147483701"/>
              <pc:sldLayoutMk cId="3605282969" sldId="2147483704"/>
              <ac:spMk id="5" creationId="{ED33472C-1771-4D3B-926A-AC34B4A17B73}"/>
            </ac:spMkLst>
          </pc:spChg>
          <pc:spChg chg="mod">
            <ac:chgData name="April Durrence" userId="2314a7d0-99d3-4144-8a7f-648170c8b7b7" providerId="ADAL" clId="{EAE80DB9-CB43-4440-9E5C-0B0573E509B3}" dt="2026-02-10T21:14:35.047" v="320" actId="962"/>
            <ac:spMkLst>
              <pc:docMk/>
              <pc:sldMasterMk cId="2991841614" sldId="2147483701"/>
              <pc:sldLayoutMk cId="3605282969" sldId="2147483704"/>
              <ac:spMk id="9" creationId="{67DA7167-FFE4-4582-A328-DC802BCFC19D}"/>
            </ac:spMkLst>
          </pc:spChg>
          <pc:picChg chg="mod">
            <ac:chgData name="April Durrence" userId="2314a7d0-99d3-4144-8a7f-648170c8b7b7" providerId="ADAL" clId="{EAE80DB9-CB43-4440-9E5C-0B0573E509B3}" dt="2026-02-10T21:14:39.773" v="321" actId="962"/>
            <ac:picMkLst>
              <pc:docMk/>
              <pc:sldMasterMk cId="2991841614" sldId="2147483701"/>
              <pc:sldLayoutMk cId="3605282969" sldId="2147483704"/>
              <ac:picMk id="8" creationId="{282B0CDB-D6D0-446A-A742-38E325BB9914}"/>
            </ac:picMkLst>
          </pc:picChg>
        </pc:sldLayout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B9B2F26-65E9-41FA-8101-81CD3493B9E8}" type="doc">
      <dgm:prSet loTypeId="urn:microsoft.com/office/officeart/2005/8/layout/matrix3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79540ED-8B7A-4495-9C7F-B68B7B61CC31}">
      <dgm:prSet phldrT="[Text]" phldr="0" custT="1"/>
      <dgm:spPr/>
      <dgm:t>
        <a:bodyPr/>
        <a:lstStyle/>
        <a:p>
          <a:endParaRPr lang="en-US" sz="2000" dirty="0"/>
        </a:p>
      </dgm:t>
    </dgm:pt>
    <dgm:pt modelId="{BE7EC45F-6BFC-46A6-A3D2-7C7CBA805E49}" type="parTrans" cxnId="{905BFF12-A2F2-427F-BDF6-AFA648B7C387}">
      <dgm:prSet/>
      <dgm:spPr/>
      <dgm:t>
        <a:bodyPr/>
        <a:lstStyle/>
        <a:p>
          <a:endParaRPr lang="en-US" sz="1400"/>
        </a:p>
      </dgm:t>
    </dgm:pt>
    <dgm:pt modelId="{CFA295DF-5E83-4505-AB21-9AE14F33AB90}" type="sibTrans" cxnId="{905BFF12-A2F2-427F-BDF6-AFA648B7C387}">
      <dgm:prSet/>
      <dgm:spPr/>
      <dgm:t>
        <a:bodyPr/>
        <a:lstStyle/>
        <a:p>
          <a:endParaRPr lang="en-US" sz="1400"/>
        </a:p>
      </dgm:t>
    </dgm:pt>
    <dgm:pt modelId="{5A18AC5B-00F8-47A7-AD3F-66B18F984D82}">
      <dgm:prSet phldrT="[Text]" phldr="0" custT="1"/>
      <dgm:spPr/>
      <dgm:t>
        <a:bodyPr/>
        <a:lstStyle/>
        <a:p>
          <a:endParaRPr lang="en-US" sz="2000" dirty="0"/>
        </a:p>
      </dgm:t>
    </dgm:pt>
    <dgm:pt modelId="{09C198BA-4A11-4699-82D6-F6632A084F7B}" type="parTrans" cxnId="{B7554120-3B20-47AE-B43B-88DDAF8371D2}">
      <dgm:prSet/>
      <dgm:spPr/>
      <dgm:t>
        <a:bodyPr/>
        <a:lstStyle/>
        <a:p>
          <a:endParaRPr lang="en-US" sz="1400"/>
        </a:p>
      </dgm:t>
    </dgm:pt>
    <dgm:pt modelId="{A2AE45C4-AAB1-450D-9E8B-C64DB9155E90}" type="sibTrans" cxnId="{B7554120-3B20-47AE-B43B-88DDAF8371D2}">
      <dgm:prSet/>
      <dgm:spPr/>
      <dgm:t>
        <a:bodyPr/>
        <a:lstStyle/>
        <a:p>
          <a:endParaRPr lang="en-US" sz="1400"/>
        </a:p>
      </dgm:t>
    </dgm:pt>
    <dgm:pt modelId="{5BE2B321-824F-476D-A344-2D6E122D7BE3}">
      <dgm:prSet phldrT="[Text]" phldr="0" custT="1"/>
      <dgm:spPr/>
      <dgm:t>
        <a:bodyPr/>
        <a:lstStyle/>
        <a:p>
          <a:endParaRPr lang="en-US" sz="2000" dirty="0"/>
        </a:p>
      </dgm:t>
    </dgm:pt>
    <dgm:pt modelId="{FB2A7044-4AF0-449D-9029-3814215E9ABA}" type="parTrans" cxnId="{780597CD-655C-4146-96A5-6598D6F175A5}">
      <dgm:prSet/>
      <dgm:spPr/>
      <dgm:t>
        <a:bodyPr/>
        <a:lstStyle/>
        <a:p>
          <a:endParaRPr lang="en-US" sz="1400"/>
        </a:p>
      </dgm:t>
    </dgm:pt>
    <dgm:pt modelId="{9964C6AA-884B-460B-8ABE-EC1386B6665C}" type="sibTrans" cxnId="{780597CD-655C-4146-96A5-6598D6F175A5}">
      <dgm:prSet/>
      <dgm:spPr/>
      <dgm:t>
        <a:bodyPr/>
        <a:lstStyle/>
        <a:p>
          <a:endParaRPr lang="en-US" sz="1400"/>
        </a:p>
      </dgm:t>
    </dgm:pt>
    <dgm:pt modelId="{B56BD663-1CB7-47CC-9A60-67D4C1B923A1}">
      <dgm:prSet phldrT="[Text]" phldr="0" custT="1"/>
      <dgm:spPr/>
      <dgm:t>
        <a:bodyPr/>
        <a:lstStyle/>
        <a:p>
          <a:endParaRPr lang="en-US" sz="2000" dirty="0"/>
        </a:p>
      </dgm:t>
    </dgm:pt>
    <dgm:pt modelId="{DA73E947-31FD-44E1-8547-EE09ED4FEC33}" type="parTrans" cxnId="{BD5DB8A4-0895-476F-B4C7-BB5FA56C36A7}">
      <dgm:prSet/>
      <dgm:spPr/>
      <dgm:t>
        <a:bodyPr/>
        <a:lstStyle/>
        <a:p>
          <a:endParaRPr lang="en-US"/>
        </a:p>
      </dgm:t>
    </dgm:pt>
    <dgm:pt modelId="{C949C674-D922-4003-BE7D-CBCCEBF54C00}" type="sibTrans" cxnId="{BD5DB8A4-0895-476F-B4C7-BB5FA56C36A7}">
      <dgm:prSet/>
      <dgm:spPr/>
      <dgm:t>
        <a:bodyPr/>
        <a:lstStyle/>
        <a:p>
          <a:endParaRPr lang="en-US"/>
        </a:p>
      </dgm:t>
    </dgm:pt>
    <dgm:pt modelId="{0FB26FA2-F0C1-44BB-9DE1-A558C2CD3456}" type="pres">
      <dgm:prSet presAssocID="{EB9B2F26-65E9-41FA-8101-81CD3493B9E8}" presName="matrix" presStyleCnt="0">
        <dgm:presLayoutVars>
          <dgm:chMax val="1"/>
          <dgm:dir/>
          <dgm:resizeHandles val="exact"/>
        </dgm:presLayoutVars>
      </dgm:prSet>
      <dgm:spPr/>
    </dgm:pt>
    <dgm:pt modelId="{D41E5B83-F11C-4D33-9F7B-53D6E4BBEBC2}" type="pres">
      <dgm:prSet presAssocID="{EB9B2F26-65E9-41FA-8101-81CD3493B9E8}" presName="diamond" presStyleLbl="bgShp" presStyleIdx="0" presStyleCnt="1"/>
      <dgm:spPr/>
    </dgm:pt>
    <dgm:pt modelId="{3C48A01F-28A4-42D3-A884-8FC8D5066E9A}" type="pres">
      <dgm:prSet presAssocID="{EB9B2F26-65E9-41FA-8101-81CD3493B9E8}" presName="quad1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6D7BA3AB-55A4-4139-BE1D-831DB3ABECC5}" type="pres">
      <dgm:prSet presAssocID="{EB9B2F26-65E9-41FA-8101-81CD3493B9E8}" presName="quad2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8A7287C6-AC7D-4AD4-B57A-4BD564667D3A}" type="pres">
      <dgm:prSet presAssocID="{EB9B2F26-65E9-41FA-8101-81CD3493B9E8}" presName="quad3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1EB6B51C-72A1-4737-8353-E33A73C5A4D3}" type="pres">
      <dgm:prSet presAssocID="{EB9B2F26-65E9-41FA-8101-81CD3493B9E8}" presName="quad4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905BFF12-A2F2-427F-BDF6-AFA648B7C387}" srcId="{EB9B2F26-65E9-41FA-8101-81CD3493B9E8}" destId="{479540ED-8B7A-4495-9C7F-B68B7B61CC31}" srcOrd="0" destOrd="0" parTransId="{BE7EC45F-6BFC-46A6-A3D2-7C7CBA805E49}" sibTransId="{CFA295DF-5E83-4505-AB21-9AE14F33AB90}"/>
    <dgm:cxn modelId="{6C4FD815-7E91-4724-9593-091C28C25391}" type="presOf" srcId="{B56BD663-1CB7-47CC-9A60-67D4C1B923A1}" destId="{6D7BA3AB-55A4-4139-BE1D-831DB3ABECC5}" srcOrd="0" destOrd="0" presId="urn:microsoft.com/office/officeart/2005/8/layout/matrix3"/>
    <dgm:cxn modelId="{B7554120-3B20-47AE-B43B-88DDAF8371D2}" srcId="{EB9B2F26-65E9-41FA-8101-81CD3493B9E8}" destId="{5A18AC5B-00F8-47A7-AD3F-66B18F984D82}" srcOrd="2" destOrd="0" parTransId="{09C198BA-4A11-4699-82D6-F6632A084F7B}" sibTransId="{A2AE45C4-AAB1-450D-9E8B-C64DB9155E90}"/>
    <dgm:cxn modelId="{0555C78B-F60C-4666-9BA0-55A2160F57C1}" type="presOf" srcId="{479540ED-8B7A-4495-9C7F-B68B7B61CC31}" destId="{3C48A01F-28A4-42D3-A884-8FC8D5066E9A}" srcOrd="0" destOrd="0" presId="urn:microsoft.com/office/officeart/2005/8/layout/matrix3"/>
    <dgm:cxn modelId="{50A74C9A-673E-42E0-9EA4-864FC55CB6F3}" type="presOf" srcId="{5BE2B321-824F-476D-A344-2D6E122D7BE3}" destId="{1EB6B51C-72A1-4737-8353-E33A73C5A4D3}" srcOrd="0" destOrd="0" presId="urn:microsoft.com/office/officeart/2005/8/layout/matrix3"/>
    <dgm:cxn modelId="{BD5DB8A4-0895-476F-B4C7-BB5FA56C36A7}" srcId="{EB9B2F26-65E9-41FA-8101-81CD3493B9E8}" destId="{B56BD663-1CB7-47CC-9A60-67D4C1B923A1}" srcOrd="1" destOrd="0" parTransId="{DA73E947-31FD-44E1-8547-EE09ED4FEC33}" sibTransId="{C949C674-D922-4003-BE7D-CBCCEBF54C00}"/>
    <dgm:cxn modelId="{1F75D8B8-971E-4F9F-90CF-096432418BE1}" type="presOf" srcId="{5A18AC5B-00F8-47A7-AD3F-66B18F984D82}" destId="{8A7287C6-AC7D-4AD4-B57A-4BD564667D3A}" srcOrd="0" destOrd="0" presId="urn:microsoft.com/office/officeart/2005/8/layout/matrix3"/>
    <dgm:cxn modelId="{90ED57C6-7CCB-4294-9BBC-EB6ACBAC9C5B}" type="presOf" srcId="{EB9B2F26-65E9-41FA-8101-81CD3493B9E8}" destId="{0FB26FA2-F0C1-44BB-9DE1-A558C2CD3456}" srcOrd="0" destOrd="0" presId="urn:microsoft.com/office/officeart/2005/8/layout/matrix3"/>
    <dgm:cxn modelId="{780597CD-655C-4146-96A5-6598D6F175A5}" srcId="{EB9B2F26-65E9-41FA-8101-81CD3493B9E8}" destId="{5BE2B321-824F-476D-A344-2D6E122D7BE3}" srcOrd="3" destOrd="0" parTransId="{FB2A7044-4AF0-449D-9029-3814215E9ABA}" sibTransId="{9964C6AA-884B-460B-8ABE-EC1386B6665C}"/>
    <dgm:cxn modelId="{2AA21ADC-0632-4496-BDD6-F5660C98F976}" type="presParOf" srcId="{0FB26FA2-F0C1-44BB-9DE1-A558C2CD3456}" destId="{D41E5B83-F11C-4D33-9F7B-53D6E4BBEBC2}" srcOrd="0" destOrd="0" presId="urn:microsoft.com/office/officeart/2005/8/layout/matrix3"/>
    <dgm:cxn modelId="{BBCD8F59-B66D-4D75-84B7-2098B17BA3B8}" type="presParOf" srcId="{0FB26FA2-F0C1-44BB-9DE1-A558C2CD3456}" destId="{3C48A01F-28A4-42D3-A884-8FC8D5066E9A}" srcOrd="1" destOrd="0" presId="urn:microsoft.com/office/officeart/2005/8/layout/matrix3"/>
    <dgm:cxn modelId="{51D448D9-B22D-447C-894F-D7A168C30285}" type="presParOf" srcId="{0FB26FA2-F0C1-44BB-9DE1-A558C2CD3456}" destId="{6D7BA3AB-55A4-4139-BE1D-831DB3ABECC5}" srcOrd="2" destOrd="0" presId="urn:microsoft.com/office/officeart/2005/8/layout/matrix3"/>
    <dgm:cxn modelId="{694E18FC-1397-46B2-8000-8C4A4EABB476}" type="presParOf" srcId="{0FB26FA2-F0C1-44BB-9DE1-A558C2CD3456}" destId="{8A7287C6-AC7D-4AD4-B57A-4BD564667D3A}" srcOrd="3" destOrd="0" presId="urn:microsoft.com/office/officeart/2005/8/layout/matrix3"/>
    <dgm:cxn modelId="{9F0E34EE-D48D-4417-98A1-D53B201FE80A}" type="presParOf" srcId="{0FB26FA2-F0C1-44BB-9DE1-A558C2CD3456}" destId="{1EB6B51C-72A1-4737-8353-E33A73C5A4D3}" srcOrd="4" destOrd="0" presId="urn:microsoft.com/office/officeart/2005/8/layout/matrix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41E5B83-F11C-4D33-9F7B-53D6E4BBEBC2}">
      <dsp:nvSpPr>
        <dsp:cNvPr id="0" name=""/>
        <dsp:cNvSpPr/>
      </dsp:nvSpPr>
      <dsp:spPr>
        <a:xfrm>
          <a:off x="1354666" y="0"/>
          <a:ext cx="5418667" cy="5418667"/>
        </a:xfrm>
        <a:prstGeom prst="diamond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C48A01F-28A4-42D3-A884-8FC8D5066E9A}">
      <dsp:nvSpPr>
        <dsp:cNvPr id="0" name=""/>
        <dsp:cNvSpPr/>
      </dsp:nvSpPr>
      <dsp:spPr>
        <a:xfrm>
          <a:off x="1869439" y="514773"/>
          <a:ext cx="2113280" cy="21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000" kern="1200" dirty="0"/>
        </a:p>
      </dsp:txBody>
      <dsp:txXfrm>
        <a:off x="1972601" y="617935"/>
        <a:ext cx="1906956" cy="1906956"/>
      </dsp:txXfrm>
    </dsp:sp>
    <dsp:sp modelId="{6D7BA3AB-55A4-4139-BE1D-831DB3ABECC5}">
      <dsp:nvSpPr>
        <dsp:cNvPr id="0" name=""/>
        <dsp:cNvSpPr/>
      </dsp:nvSpPr>
      <dsp:spPr>
        <a:xfrm>
          <a:off x="4145280" y="514773"/>
          <a:ext cx="2113280" cy="21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000" kern="1200" dirty="0"/>
        </a:p>
      </dsp:txBody>
      <dsp:txXfrm>
        <a:off x="4248442" y="617935"/>
        <a:ext cx="1906956" cy="1906956"/>
      </dsp:txXfrm>
    </dsp:sp>
    <dsp:sp modelId="{8A7287C6-AC7D-4AD4-B57A-4BD564667D3A}">
      <dsp:nvSpPr>
        <dsp:cNvPr id="0" name=""/>
        <dsp:cNvSpPr/>
      </dsp:nvSpPr>
      <dsp:spPr>
        <a:xfrm>
          <a:off x="1869439" y="2790613"/>
          <a:ext cx="2113280" cy="21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000" kern="1200" dirty="0"/>
        </a:p>
      </dsp:txBody>
      <dsp:txXfrm>
        <a:off x="1972601" y="2893775"/>
        <a:ext cx="1906956" cy="1906956"/>
      </dsp:txXfrm>
    </dsp:sp>
    <dsp:sp modelId="{1EB6B51C-72A1-4737-8353-E33A73C5A4D3}">
      <dsp:nvSpPr>
        <dsp:cNvPr id="0" name=""/>
        <dsp:cNvSpPr/>
      </dsp:nvSpPr>
      <dsp:spPr>
        <a:xfrm>
          <a:off x="4145280" y="2790613"/>
          <a:ext cx="2113280" cy="21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000" kern="1200" dirty="0"/>
        </a:p>
      </dsp:txBody>
      <dsp:txXfrm>
        <a:off x="4248442" y="2893775"/>
        <a:ext cx="1906956" cy="190695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3">
  <dgm:title val=""/>
  <dgm:desc val=""/>
  <dgm:catLst>
    <dgm:cat type="matrix" pri="1000"/>
    <dgm:cat type="convert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29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71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29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71"/>
          <dgm:constr type="ctrY" for="ch" forName="quad4" refType="h" fact="0.71"/>
          <dgm:constr type="primFontSz" for="des" ptType="node" op="equ" val="65"/>
        </dgm:constrLst>
      </dgm:if>
      <dgm:else name="Name2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71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29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71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29"/>
          <dgm:constr type="ctrY" for="ch" forName="quad4" refType="h" fact="0.71"/>
          <dgm:constr type="primFontSz" for="des" ptType="node" op="equ" val="65"/>
        </dgm:constrLst>
      </dgm:else>
    </dgm:choose>
    <dgm:ruleLst/>
    <dgm:choose name="Name3">
      <dgm:if name="Name4" axis="ch" ptType="node" func="cnt" op="gte" val="1">
        <dgm:layoutNode name="diamond" styleLbl="bgShp">
          <dgm:alg type="sp"/>
          <dgm:shape xmlns:r="http://schemas.openxmlformats.org/officeDocument/2006/relationships" type="diamond" r:blip="">
            <dgm:adjLst/>
          </dgm:shape>
          <dgm:presOf/>
          <dgm:constrLst>
            <dgm:constr type="w" refType="h" op="equ"/>
          </dgm:constrLst>
          <dgm:ruleLst/>
        </dgm:layoutNode>
        <dgm:layoutNode name="quad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89B083-B27B-4FA1-9D02-8E7D72C200D0}" type="datetimeFigureOut">
              <a:rPr lang="en-US" smtClean="0"/>
              <a:t>2/12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8B917A-44FF-4375-AE13-26284F8E84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42461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teams.microsoft.com/l/meetup-join/19%3ameeting_N2NmNDg0NmUtZWFkMS00YjFkLTljMzQtM2Q5ZDI4OGU2ZDJl%40thread.v2/0?context=%7b%22Tid%22%3a%22a1f43f48-54fe-433f-9378-968b45bc6665%22%2c%22Oid%22%3a%22a97f2b47-fee0-4f84-a663-b1d45b4d0254%22%7d" TargetMode="External"/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Good Afternoon! We have a great agenda planned for you today! We will be sharing NCFS Highlights from the past year, Talk about OCM (Change Management)/Communications updates, followed by tips and reminders from our OSC Training team. We will then get some important NCFS security updates before we close out a sneak peek into upcoming events and allow some time for questions and answers regarding today’s topic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355392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D56981-C06A-063D-CC41-BEEF509EB4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9C6785E-7773-CC74-9AB1-29CC74C0432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8D2D1F7-1E16-43E8-C066-4D672297E8F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8E15689-41D8-A4F9-3E36-A0DEC079A06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454304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97375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ank previous speaker and Introduce next speaker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FF7AE6-12DA-4B88-A513-C47EE31B06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272427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ank previous speaker and Introduce next speaker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FF7AE6-12DA-4B88-A513-C47EE31B06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272427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Identity access managem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073691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314812-DC95-63CB-1F67-C77EC2B923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CB8EE5D-4194-88E7-EFAD-7419A494F4A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CFC0B5A-0F99-5CB0-3F4A-2B56D96ACDD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Identity access manage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94C9D9-6E44-080C-F45C-471EDF08E28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320228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FF7AE6-12DA-4B88-A513-C47EE31B06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272427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Drop link to FA session in chat: </a:t>
            </a:r>
            <a:r>
              <a:rPr lang="en-US">
                <a:hlinkClick r:id="rId3"/>
              </a:rPr>
              <a:t>https://teams.microsoft.com/l/meetup-join/19%3ameeting_N2NmNDg0NmUtZWFkMS00YjFkLTljMzQtM2Q5ZDI4OGU2ZDJl%40thread.v2/0?context=%7b%22Tid%22%3a%22a1f43f48-54fe-433f-9378-968b45bc6665%22%2c%22Oid%22%3a%22a97f2b47-fee0-4f84-a663-b1d45b4d0254%22%7d</a:t>
            </a:r>
            <a:endParaRPr lang="en-US"/>
          </a:p>
          <a:p>
            <a:endParaRPr lang="en-US"/>
          </a:p>
          <a:p>
            <a:r>
              <a:rPr lang="en-US"/>
              <a:t>Communications to go out later this month and those will begin soon. Feel free to send us names of folks who you would like added to those sessions after </a:t>
            </a:r>
            <a:r>
              <a:rPr lang="en-US" err="1"/>
              <a:t>th</a:t>
            </a:r>
            <a:r>
              <a:rPr lang="en-US"/>
              <a:t> invites go ou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270716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ED91FE-6D38-6401-A9C4-8ED3A8AE42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4F54BBF-64C9-D426-4C7C-8E544ED6D06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B2FD9ED-943F-EA04-DFC4-4CC8196787A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Drop feedback form in the chat:</a:t>
            </a:r>
          </a:p>
          <a:p>
            <a:r>
              <a:rPr lang="en-US"/>
              <a:t>https://forms.office.com/pages/responsepage.aspx?id=SD_0of5UP0OTeJaLRbxmZbUw8WZqj85MlNkQx_m10YBUNTlFN1Q3OTZCU1ZIQlk4WDJNM1E1VkhEWS4u&amp;route=shorturl</a:t>
            </a:r>
          </a:p>
          <a:p>
            <a:endParaRPr lang="en-US"/>
          </a:p>
          <a:p>
            <a:r>
              <a:rPr lang="en-US"/>
              <a:t>Allow opportunities for questions regarding topics presented today. If there are additional topics that wish to see, please share in the form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658F35-FEE1-9855-09E0-2D68B15B7E6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75060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,Sans-Serif"/>
              <a:buNone/>
              <a:tabLst/>
              <a:defRPr/>
            </a:pPr>
            <a:r>
              <a:rPr lang="en-US" sz="1200">
                <a:ea typeface="Calibri"/>
                <a:cs typeface="Calibri"/>
              </a:rPr>
              <a:t>A couple of quick housekeeping items for today…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,Sans-Serif"/>
              <a:buNone/>
              <a:tabLst/>
              <a:defRPr/>
            </a:pPr>
            <a:endParaRPr lang="en-US" sz="1200">
              <a:ea typeface="Calibri"/>
              <a:cs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,Sans-Serif"/>
              <a:buNone/>
              <a:tabLst/>
              <a:defRPr/>
            </a:pPr>
            <a:r>
              <a:rPr lang="en-US" sz="1200">
                <a:ea typeface="Calibri"/>
                <a:cs typeface="Calibri"/>
              </a:rPr>
              <a:t>We have a variety of representatives from our agencies who interact with NCFS. From CFO’s and controllers, to the analysts and cash management folks – we’ve got a mix. We hope that you will take the information we share with you in these sessions and pass it along to your team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,Sans-Serif"/>
              <a:buNone/>
              <a:tabLst/>
              <a:defRPr/>
            </a:pPr>
            <a:endParaRPr lang="en-US" sz="1200">
              <a:ea typeface="Calibri"/>
              <a:cs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,Sans-Serif"/>
              <a:buNone/>
              <a:tabLst/>
              <a:defRPr/>
            </a:pPr>
            <a:r>
              <a:rPr lang="en-US" sz="1200">
                <a:ea typeface="Calibri"/>
                <a:cs typeface="Calibri"/>
              </a:rPr>
              <a:t>We will be recording the sessions and sharing out following the meetings. At the end of the presentation, we will share a sneak peek of the upcoming topics that we will be presenting. Please note that all agendas/topics are subject to change, but we will be basing these topics off your feedback and to compliment the activities you have each month and throughout the year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,Sans-Serif"/>
              <a:buNone/>
              <a:tabLst/>
              <a:defRPr/>
            </a:pPr>
            <a:endParaRPr lang="en-US" sz="1200">
              <a:ea typeface="Calibri"/>
              <a:cs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,Sans-Serif"/>
              <a:buNone/>
              <a:tabLst/>
              <a:defRPr/>
            </a:pPr>
            <a:endParaRPr lang="en-US" sz="1200">
              <a:ea typeface="Calibri"/>
              <a:cs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,Sans-Serif"/>
              <a:buNone/>
              <a:tabLst/>
              <a:defRPr/>
            </a:pPr>
            <a:endParaRPr lang="en-US" sz="1200">
              <a:ea typeface="Calibri"/>
              <a:cs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,Sans-Serif"/>
              <a:buNone/>
              <a:tabLst/>
              <a:defRPr/>
            </a:pPr>
            <a:endParaRPr lang="en-US" sz="1200">
              <a:ea typeface="Calibri"/>
              <a:cs typeface="Calibri"/>
            </a:endParaRPr>
          </a:p>
          <a:p>
            <a:pPr marL="0" indent="0">
              <a:buFont typeface="Calibri,Sans-Serif"/>
              <a:buNone/>
            </a:pPr>
            <a:endParaRPr lang="en-US"/>
          </a:p>
          <a:p>
            <a:pPr marL="457200" indent="-457200">
              <a:buFont typeface="Calibri,Sans-Serif"/>
              <a:buChar char="-"/>
            </a:pPr>
            <a:endParaRPr lang="en-US"/>
          </a:p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40192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r>
              <a:rPr lang="en-US"/>
              <a:t>Introduce speakers of the day</a:t>
            </a:r>
          </a:p>
          <a:p>
            <a:pPr marL="0" indent="0">
              <a:buFontTx/>
              <a:buNone/>
            </a:pP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ea typeface="Calibri"/>
                <a:cs typeface="Calibri"/>
              </a:rPr>
              <a:t>We would like for you to hold your questions for the end of the session to allow each presenter time to complete their sections.</a:t>
            </a:r>
          </a:p>
          <a:p>
            <a:pPr marL="0" indent="0">
              <a:buFontTx/>
              <a:buNone/>
            </a:pPr>
            <a:endParaRPr lang="en-US"/>
          </a:p>
          <a:p>
            <a:pPr marL="0" indent="0">
              <a:buFontTx/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92DD4A-3BDD-4D5C-9F20-AD0723098B9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644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Introduce speaker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FF7AE6-12DA-4B88-A513-C47EE31B06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27242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EC7ABB-DE26-1B49-C49F-62C69071EF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ACEF35B-0D50-0A5E-351F-9829D708370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E8DA682-714D-A7E3-11DA-5A405D981A8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995569-4478-2BB3-F289-25007408AE2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05406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2035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ea typeface="Calibri"/>
                <a:cs typeface="Calibri"/>
              </a:rPr>
              <a:t>Launch Poll</a:t>
            </a:r>
          </a:p>
          <a:p>
            <a:r>
              <a:rPr lang="en-US">
                <a:ea typeface="Calibri"/>
                <a:cs typeface="Calibri"/>
              </a:rPr>
              <a:t>Refer to results at the en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30611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ank previous speaker and Introduce next speaker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FF7AE6-12DA-4B88-A513-C47EE31B06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272427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32723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gi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600200"/>
            <a:ext cx="9692640" cy="127710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12915" y="3169157"/>
            <a:ext cx="9681555" cy="1655763"/>
          </a:xfrm>
        </p:spPr>
        <p:txBody>
          <a:bodyPr>
            <a:normAutofit/>
          </a:bodyPr>
          <a:lstStyle>
            <a:lvl1pPr marL="0" indent="0" algn="l">
              <a:buNone/>
              <a:defRPr sz="2800" b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D1613E9-4864-49B9-9B75-7F065C1974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1512915" y="2967011"/>
            <a:ext cx="969264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D8A6571A-D1BC-45D9-8BBE-1E74645F13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30424" y="939385"/>
            <a:ext cx="11101747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69025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117A040-FBDA-4F05-9CE2-7DE46C19EADF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A24D57-317F-402E-9CC2-8C442CCAEF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75261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3AF4D37-08B2-4F9D-9B70-EFE5268C5C96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2672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7" y="572898"/>
            <a:ext cx="6748983" cy="534571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642873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981F61A-27C4-4D43-9ED7-91C2AB61A1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02745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E9E8F7B-9A6A-48B8-8818-98E7F5C9BCB4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54864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7" y="585090"/>
            <a:ext cx="6748984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655065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E4DAB48-7C31-425F-8874-C2CBA51849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962663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600200"/>
            <a:ext cx="9692640" cy="127710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12915" y="3169157"/>
            <a:ext cx="9681555" cy="1655763"/>
          </a:xfrm>
        </p:spPr>
        <p:txBody>
          <a:bodyPr>
            <a:normAutofit/>
          </a:bodyPr>
          <a:lstStyle>
            <a:lvl1pPr marL="0" indent="0" algn="l">
              <a:buNone/>
              <a:defRPr sz="2800" b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D1613E9-4864-49B9-9B75-7F065C1974CB}"/>
              </a:ext>
            </a:extLst>
          </p:cNvPr>
          <p:cNvCxnSpPr/>
          <p:nvPr userDrawn="1"/>
        </p:nvCxnSpPr>
        <p:spPr>
          <a:xfrm>
            <a:off x="1512915" y="2967011"/>
            <a:ext cx="969264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D8A6571A-D1BC-45D9-8BBE-1E74645F13D0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269025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273557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D33472C-1771-4D3B-926A-AC34B4A17B73}"/>
              </a:ext>
            </a:extLst>
          </p:cNvPr>
          <p:cNvSpPr/>
          <p:nvPr userDrawn="1"/>
        </p:nvSpPr>
        <p:spPr>
          <a:xfrm>
            <a:off x="642679" y="5803393"/>
            <a:ext cx="1786271" cy="9904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EAD31AA-A215-4AD4-8513-DE9542D0462B}"/>
              </a:ext>
            </a:extLst>
          </p:cNvPr>
          <p:cNvSpPr/>
          <p:nvPr userDrawn="1"/>
        </p:nvSpPr>
        <p:spPr>
          <a:xfrm>
            <a:off x="10497313" y="5803392"/>
            <a:ext cx="1584929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312349" cy="6342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253330"/>
            <a:ext cx="10974323" cy="52395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82B0CDB-D6D0-446A-A742-38E325BB99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140208"/>
            <a:ext cx="1892272" cy="731520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7DA7167-FFE4-4582-A328-DC802BCFC1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858674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C5F4692-503D-41FF-A59B-420308C26EFC}"/>
              </a:ext>
            </a:extLst>
          </p:cNvPr>
          <p:cNvSpPr/>
          <p:nvPr userDrawn="1"/>
        </p:nvSpPr>
        <p:spPr>
          <a:xfrm>
            <a:off x="642679" y="5803393"/>
            <a:ext cx="1786271" cy="9904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FC78BCB-4C1E-4004-80F9-2353C2D34872}"/>
              </a:ext>
            </a:extLst>
          </p:cNvPr>
          <p:cNvSpPr/>
          <p:nvPr userDrawn="1"/>
        </p:nvSpPr>
        <p:spPr>
          <a:xfrm>
            <a:off x="10497313" y="5803392"/>
            <a:ext cx="1584929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4547" y="4439307"/>
            <a:ext cx="9692640" cy="1500187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800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4F1852F-034B-47AA-A456-9F982E877863}"/>
              </a:ext>
            </a:extLst>
          </p:cNvPr>
          <p:cNvCxnSpPr/>
          <p:nvPr userDrawn="1"/>
        </p:nvCxnSpPr>
        <p:spPr>
          <a:xfrm>
            <a:off x="854547" y="4322413"/>
            <a:ext cx="969264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B8C1A067-A893-4279-B308-9FFC75BAE3A7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4547" y="1992103"/>
            <a:ext cx="9692640" cy="2273319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A48370-7C5A-4169-8F25-83F3E0011A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C13B26E-07ED-40EB-ADD6-4035AB4D6A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323456"/>
            <a:ext cx="1892272" cy="73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81838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8C1A067-A893-4279-B308-9FFC75BAE3A7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C11D8551-CBB1-4F04-A097-C0DCEEE68F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FAA56947-F4DF-41F0-812C-E2DBB09280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54547" y="4439307"/>
            <a:ext cx="9692640" cy="1500187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800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7FE0038-5839-49A8-8B57-4F9050F1D961}"/>
              </a:ext>
            </a:extLst>
          </p:cNvPr>
          <p:cNvCxnSpPr/>
          <p:nvPr userDrawn="1"/>
        </p:nvCxnSpPr>
        <p:spPr>
          <a:xfrm>
            <a:off x="854547" y="4322413"/>
            <a:ext cx="969264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E2D679D9-06B7-460E-9B28-A9C4B7223A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4547" y="1992103"/>
            <a:ext cx="9692640" cy="2273319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9504125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255777"/>
            <a:ext cx="5181600" cy="45841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11112" y="1255777"/>
            <a:ext cx="5181600" cy="45841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EEBEAB-2AEE-49D4-BDC3-BD9DF50C1C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884580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7" y="172465"/>
            <a:ext cx="10925492" cy="823912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144715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1968627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01385" y="1144715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01385" y="1968627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AF3D789-74FA-4753-B245-B364323F40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3949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2735578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4500833-DD81-433B-AEFB-26C61E21BE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679043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B330FE5-D279-49E2-BA0B-8057E5EEFBDE}"/>
              </a:ext>
            </a:extLst>
          </p:cNvPr>
          <p:cNvSpPr/>
          <p:nvPr userDrawn="1"/>
        </p:nvSpPr>
        <p:spPr>
          <a:xfrm>
            <a:off x="10497313" y="5803392"/>
            <a:ext cx="1584929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528925" cy="6342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E5DE318-13A6-471E-AE4F-2C86C9804C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140208"/>
            <a:ext cx="1892272" cy="731520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7825C70-D5A5-436D-AACB-4CFC723B82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FC0D0A5-FC9D-4348-9178-F276FF1F7944}"/>
              </a:ext>
            </a:extLst>
          </p:cNvPr>
          <p:cNvSpPr/>
          <p:nvPr userDrawn="1"/>
        </p:nvSpPr>
        <p:spPr>
          <a:xfrm>
            <a:off x="838201" y="5916429"/>
            <a:ext cx="1584929" cy="9415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392001196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117A040-FBDA-4F05-9CE2-7DE46C19EADF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A24D57-317F-402E-9CC2-8C442CCAEF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75261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3AF4D37-08B2-4F9D-9B70-EFE5268C5C96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2672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7" y="572898"/>
            <a:ext cx="6748983" cy="534571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642873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981F61A-27C4-4D43-9ED7-91C2AB61A1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027455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E9E8F7B-9A6A-48B8-8818-98E7F5C9BCB4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54864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7" y="585090"/>
            <a:ext cx="6748984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655065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E4DAB48-7C31-425F-8874-C2CBA51849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96266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600200"/>
            <a:ext cx="9692640" cy="127710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12915" y="3169157"/>
            <a:ext cx="9681555" cy="1655763"/>
          </a:xfrm>
        </p:spPr>
        <p:txBody>
          <a:bodyPr>
            <a:normAutofit/>
          </a:bodyPr>
          <a:lstStyle>
            <a:lvl1pPr marL="0" indent="0" algn="l">
              <a:buNone/>
              <a:defRPr sz="2800" b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D1613E9-4864-49B9-9B75-7F065C1974CB}"/>
              </a:ext>
            </a:extLst>
          </p:cNvPr>
          <p:cNvCxnSpPr/>
          <p:nvPr userDrawn="1"/>
        </p:nvCxnSpPr>
        <p:spPr>
          <a:xfrm>
            <a:off x="1512915" y="2967011"/>
            <a:ext cx="969264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D8A6571A-D1BC-45D9-8BBE-1E74645F13D0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64898008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8144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D33472C-1771-4D3B-926A-AC34B4A17B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42679" y="5803393"/>
            <a:ext cx="1786271" cy="9904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EAD31AA-A215-4AD4-8513-DE9542D046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237641" y="5803391"/>
            <a:ext cx="1844602" cy="9904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312349" cy="6342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253330"/>
            <a:ext cx="10974323" cy="52395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82B0CDB-D6D0-446A-A742-38E325BB99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140208"/>
            <a:ext cx="1892272" cy="731520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7DA7167-FFE4-4582-A328-DC802BCFC1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-3721" y="6328168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0528296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C5F4692-503D-41FF-A59B-420308C26EFC}"/>
              </a:ext>
            </a:extLst>
          </p:cNvPr>
          <p:cNvSpPr/>
          <p:nvPr userDrawn="1"/>
        </p:nvSpPr>
        <p:spPr>
          <a:xfrm>
            <a:off x="642679" y="5803393"/>
            <a:ext cx="1786271" cy="9904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FC78BCB-4C1E-4004-80F9-2353C2D34872}"/>
              </a:ext>
            </a:extLst>
          </p:cNvPr>
          <p:cNvSpPr/>
          <p:nvPr userDrawn="1"/>
        </p:nvSpPr>
        <p:spPr>
          <a:xfrm>
            <a:off x="10497313" y="5803392"/>
            <a:ext cx="1584929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4547" y="4439307"/>
            <a:ext cx="9692640" cy="1500187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800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4F1852F-034B-47AA-A456-9F982E877863}"/>
              </a:ext>
            </a:extLst>
          </p:cNvPr>
          <p:cNvCxnSpPr/>
          <p:nvPr userDrawn="1"/>
        </p:nvCxnSpPr>
        <p:spPr>
          <a:xfrm>
            <a:off x="854547" y="4322413"/>
            <a:ext cx="969264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B8C1A067-A893-4279-B308-9FFC75BAE3A7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4547" y="1992103"/>
            <a:ext cx="9692640" cy="2273319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A48370-7C5A-4169-8F25-83F3E0011A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C13B26E-07ED-40EB-ADD6-4035AB4D6A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323456"/>
            <a:ext cx="1892272" cy="73152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40E8A1B-9494-4948-B4D7-33394FA2EA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7683" b="23372"/>
          <a:stretch/>
        </p:blipFill>
        <p:spPr>
          <a:xfrm>
            <a:off x="774408" y="276877"/>
            <a:ext cx="1445888" cy="611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312660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8C1A067-A893-4279-B308-9FFC75BAE3A7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C11D8551-CBB1-4F04-A097-C0DCEEE68F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FAA56947-F4DF-41F0-812C-E2DBB09280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54547" y="4439307"/>
            <a:ext cx="9692640" cy="1500187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800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7FE0038-5839-49A8-8B57-4F9050F1D961}"/>
              </a:ext>
            </a:extLst>
          </p:cNvPr>
          <p:cNvCxnSpPr/>
          <p:nvPr userDrawn="1"/>
        </p:nvCxnSpPr>
        <p:spPr>
          <a:xfrm>
            <a:off x="854547" y="4322413"/>
            <a:ext cx="969264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E2D679D9-06B7-460E-9B28-A9C4B7223A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4547" y="1992103"/>
            <a:ext cx="9692640" cy="2273319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763229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EAD31AA-A215-4AD4-8513-DE9542D046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920377" y="5803392"/>
            <a:ext cx="2161865" cy="10546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312349" cy="6342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253330"/>
            <a:ext cx="10974323" cy="52395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82B0CDB-D6D0-446A-A742-38E325BB99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189970" y="140208"/>
            <a:ext cx="1892272" cy="731520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7DA7167-FFE4-4582-A328-DC802BCFC1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4858674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255777"/>
            <a:ext cx="5181600" cy="45841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11112" y="1255777"/>
            <a:ext cx="5181600" cy="45841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EEBEAB-2AEE-49D4-BDC3-BD9DF50C1C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809015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7" y="172465"/>
            <a:ext cx="10925492" cy="823912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144715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1968627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01385" y="1144715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01385" y="1968627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AF3D789-74FA-4753-B245-B364323F40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809238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4500833-DD81-433B-AEFB-26C61E21BE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538200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B330FE5-D279-49E2-BA0B-8057E5EEFBDE}"/>
              </a:ext>
            </a:extLst>
          </p:cNvPr>
          <p:cNvSpPr/>
          <p:nvPr userDrawn="1"/>
        </p:nvSpPr>
        <p:spPr>
          <a:xfrm>
            <a:off x="9869865" y="5803392"/>
            <a:ext cx="2212378" cy="10546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528925" cy="6342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E5DE318-13A6-471E-AE4F-2C86C9804C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140208"/>
            <a:ext cx="1892272" cy="731520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7825C70-D5A5-436D-AACB-4CFC723B82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FC0D0A5-FC9D-4348-9178-F276FF1F7944}"/>
              </a:ext>
            </a:extLst>
          </p:cNvPr>
          <p:cNvSpPr/>
          <p:nvPr userDrawn="1"/>
        </p:nvSpPr>
        <p:spPr>
          <a:xfrm>
            <a:off x="838201" y="5916429"/>
            <a:ext cx="1584929" cy="9415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344897735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117A040-FBDA-4F05-9CE2-7DE46C19EADF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A24D57-317F-402E-9CC2-8C442CCAEF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193448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3AF4D37-08B2-4F9D-9B70-EFE5268C5C96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2672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7" y="572898"/>
            <a:ext cx="6748983" cy="534571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642873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981F61A-27C4-4D43-9ED7-91C2AB61A1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833010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E9E8F7B-9A6A-48B8-8818-98E7F5C9BCB4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54864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7" y="585090"/>
            <a:ext cx="6748984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655065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E4DAB48-7C31-425F-8874-C2CBA51849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467006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21588" y="135027"/>
            <a:ext cx="11582400" cy="646331"/>
          </a:xfrm>
        </p:spPr>
        <p:txBody>
          <a:bodyPr>
            <a:spAutoFit/>
          </a:bodyPr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321589" y="680820"/>
            <a:ext cx="11582400" cy="276999"/>
          </a:xfrm>
        </p:spPr>
        <p:txBody>
          <a:bodyPr/>
          <a:lstStyle>
            <a:lvl1pPr marL="0" indent="0">
              <a:buNone/>
              <a:defRPr sz="1999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12"/>
          </p:nvPr>
        </p:nvSpPr>
        <p:spPr>
          <a:xfrm>
            <a:off x="316301" y="1188723"/>
            <a:ext cx="11582400" cy="1199367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32737708"/>
      </p:ext>
    </p:extLst>
  </p:cSld>
  <p:clrMapOvr>
    <a:masterClrMapping/>
  </p:clrMapOvr>
  <p:transition>
    <p:wipe dir="r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041817" y="134382"/>
            <a:ext cx="8608483" cy="493712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7646360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984252" y="1570042"/>
            <a:ext cx="10227731" cy="4470401"/>
          </a:xfrm>
          <a:prstGeom prst="rect">
            <a:avLst/>
          </a:prstGeom>
        </p:spPr>
        <p:txBody>
          <a:bodyPr vert="horz"/>
          <a:lstStyle>
            <a:lvl1pPr marL="285750" indent="-285750">
              <a:buSzPct val="120000"/>
              <a:buFontTx/>
              <a:buBlip>
                <a:blip r:embed="rId2"/>
              </a:buBlip>
              <a:defRPr sz="1800">
                <a:solidFill>
                  <a:srgbClr val="404040"/>
                </a:solidFill>
                <a:latin typeface="Arial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 typeface="Wingdings" pitchFamily="2" charset="2"/>
              <a:buChar char="à"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 typeface="Arial" pitchFamily="34" charset="0"/>
              <a:buChar char="­"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4" y="819403"/>
            <a:ext cx="10227731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673601" y="6509043"/>
            <a:ext cx="2844800" cy="21782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800" b="1">
                <a:solidFill>
                  <a:schemeClr val="accent4"/>
                </a:solidFill>
                <a:latin typeface="+mj-lt"/>
              </a:defRPr>
            </a:lvl1pPr>
          </a:lstStyle>
          <a:p>
            <a:endParaRPr lang="fr-FR">
              <a:solidFill>
                <a:srgbClr val="E40A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6594807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C5F4692-503D-41FF-A59B-420308C26EFC}"/>
              </a:ext>
            </a:extLst>
          </p:cNvPr>
          <p:cNvSpPr/>
          <p:nvPr userDrawn="1"/>
        </p:nvSpPr>
        <p:spPr>
          <a:xfrm>
            <a:off x="642679" y="5803393"/>
            <a:ext cx="1786271" cy="9904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FC78BCB-4C1E-4004-80F9-2353C2D34872}"/>
              </a:ext>
            </a:extLst>
          </p:cNvPr>
          <p:cNvSpPr/>
          <p:nvPr userDrawn="1"/>
        </p:nvSpPr>
        <p:spPr>
          <a:xfrm>
            <a:off x="10189971" y="5803392"/>
            <a:ext cx="1892271" cy="10546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4547" y="4439307"/>
            <a:ext cx="9692640" cy="1500187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800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4F1852F-034B-47AA-A456-9F982E877863}"/>
              </a:ext>
            </a:extLst>
          </p:cNvPr>
          <p:cNvCxnSpPr/>
          <p:nvPr userDrawn="1"/>
        </p:nvCxnSpPr>
        <p:spPr>
          <a:xfrm>
            <a:off x="854547" y="4322413"/>
            <a:ext cx="969264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B8C1A067-A893-4279-B308-9FFC75BAE3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54548" y="939385"/>
            <a:ext cx="11077624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4547" y="1992103"/>
            <a:ext cx="9692640" cy="2273319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A48370-7C5A-4169-8F25-83F3E0011A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C13B26E-07ED-40EB-ADD6-4035AB4D6A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323456"/>
            <a:ext cx="1892272" cy="73152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4818383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196306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8C1A067-A893-4279-B308-9FFC75BAE3A7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C11D8551-CBB1-4F04-A097-C0DCEEE68F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FAA56947-F4DF-41F0-812C-E2DBB09280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54547" y="4439307"/>
            <a:ext cx="9692640" cy="1500187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800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7FE0038-5839-49A8-8B57-4F9050F1D961}"/>
              </a:ext>
            </a:extLst>
          </p:cNvPr>
          <p:cNvCxnSpPr/>
          <p:nvPr userDrawn="1"/>
        </p:nvCxnSpPr>
        <p:spPr>
          <a:xfrm>
            <a:off x="854547" y="4322413"/>
            <a:ext cx="969264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E2D679D9-06B7-460E-9B28-A9C4B7223A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4547" y="1992103"/>
            <a:ext cx="9692640" cy="2273319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950412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255777"/>
            <a:ext cx="5181600" cy="45841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11112" y="1255777"/>
            <a:ext cx="5181600" cy="45841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EEBEAB-2AEE-49D4-BDC3-BD9DF50C1C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888458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7" y="172465"/>
            <a:ext cx="10925492" cy="823912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144715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1968627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01385" y="1144715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01385" y="1968627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AF3D789-74FA-4753-B245-B364323F40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53949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4500833-DD81-433B-AEFB-26C61E21BE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67904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B330FE5-D279-49E2-BA0B-8057E5EEFB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189971" y="5803392"/>
            <a:ext cx="1892272" cy="10546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528925" cy="6342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E5DE318-13A6-471E-AE4F-2C86C9804C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140208"/>
            <a:ext cx="1892272" cy="731520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7825C70-D5A5-436D-AACB-4CFC723B82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200119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ags" Target="../tags/tag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tags" Target="../tags/tag11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34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974323" cy="6342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253330"/>
            <a:ext cx="10974323" cy="47690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2CB7D99-1B9B-4BF4-885E-6610D32C44F5}"/>
              </a:ext>
            </a:extLst>
          </p:cNvPr>
          <p:cNvGrpSpPr/>
          <p:nvPr userDrawn="1"/>
        </p:nvGrpSpPr>
        <p:grpSpPr>
          <a:xfrm>
            <a:off x="0" y="0"/>
            <a:ext cx="548640" cy="6858000"/>
            <a:chOff x="0" y="0"/>
            <a:chExt cx="411480" cy="51435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8D4EB9B-CFAD-4822-B717-0EBA0ECBB835}"/>
                </a:ext>
              </a:extLst>
            </p:cNvPr>
            <p:cNvSpPr/>
            <p:nvPr/>
          </p:nvSpPr>
          <p:spPr>
            <a:xfrm>
              <a:off x="0" y="0"/>
              <a:ext cx="411480" cy="5143500"/>
            </a:xfrm>
            <a:prstGeom prst="rect">
              <a:avLst/>
            </a:prstGeom>
            <a:solidFill>
              <a:srgbClr val="232B7C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C58F39E-A5CD-46C1-AB04-64A30C3F6C08}"/>
                </a:ext>
              </a:extLst>
            </p:cNvPr>
            <p:cNvSpPr/>
            <p:nvPr/>
          </p:nvSpPr>
          <p:spPr>
            <a:xfrm>
              <a:off x="0" y="0"/>
              <a:ext cx="411480" cy="2087880"/>
            </a:xfrm>
            <a:prstGeom prst="rect">
              <a:avLst/>
            </a:prstGeom>
            <a:gradFill>
              <a:gsLst>
                <a:gs pos="0">
                  <a:srgbClr val="C00000"/>
                </a:gs>
                <a:gs pos="100000">
                  <a:srgbClr val="232B7C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876297A-8743-4312-95C7-8C0DB9052BA1}"/>
              </a:ext>
            </a:extLst>
          </p:cNvPr>
          <p:cNvCxnSpPr/>
          <p:nvPr userDrawn="1"/>
        </p:nvCxnSpPr>
        <p:spPr>
          <a:xfrm>
            <a:off x="931163" y="1046771"/>
            <a:ext cx="1088136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1A706B56-42BE-4BCB-8761-8C28BEF6B9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6069769"/>
            <a:ext cx="1892272" cy="73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912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rgbClr val="232B7C"/>
          </a:solidFill>
          <a:latin typeface="+mn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667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972200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232B7C"/>
        </a:buClr>
        <a:buFont typeface="Calibri" panose="020F0502020204030204" pitchFamily="34" charset="0"/>
        <a:buChar char="ꟷ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974323" cy="6342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253330"/>
            <a:ext cx="10974323" cy="47690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2CB7D99-1B9B-4BF4-885E-6610D32C44F5}"/>
              </a:ext>
            </a:extLst>
          </p:cNvPr>
          <p:cNvGrpSpPr/>
          <p:nvPr userDrawn="1"/>
        </p:nvGrpSpPr>
        <p:grpSpPr>
          <a:xfrm>
            <a:off x="0" y="0"/>
            <a:ext cx="548640" cy="6858000"/>
            <a:chOff x="0" y="0"/>
            <a:chExt cx="411480" cy="51435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8D4EB9B-CFAD-4822-B717-0EBA0ECBB835}"/>
                </a:ext>
              </a:extLst>
            </p:cNvPr>
            <p:cNvSpPr/>
            <p:nvPr/>
          </p:nvSpPr>
          <p:spPr>
            <a:xfrm>
              <a:off x="0" y="0"/>
              <a:ext cx="411480" cy="5143500"/>
            </a:xfrm>
            <a:prstGeom prst="rect">
              <a:avLst/>
            </a:prstGeom>
            <a:solidFill>
              <a:srgbClr val="232B7C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C58F39E-A5CD-46C1-AB04-64A30C3F6C08}"/>
                </a:ext>
              </a:extLst>
            </p:cNvPr>
            <p:cNvSpPr/>
            <p:nvPr/>
          </p:nvSpPr>
          <p:spPr>
            <a:xfrm>
              <a:off x="0" y="0"/>
              <a:ext cx="411480" cy="2087880"/>
            </a:xfrm>
            <a:prstGeom prst="rect">
              <a:avLst/>
            </a:prstGeom>
            <a:gradFill>
              <a:gsLst>
                <a:gs pos="0">
                  <a:srgbClr val="C00000"/>
                </a:gs>
                <a:gs pos="100000">
                  <a:srgbClr val="232B7C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876297A-8743-4312-95C7-8C0DB9052BA1}"/>
              </a:ext>
            </a:extLst>
          </p:cNvPr>
          <p:cNvCxnSpPr/>
          <p:nvPr userDrawn="1"/>
        </p:nvCxnSpPr>
        <p:spPr>
          <a:xfrm>
            <a:off x="931163" y="1046771"/>
            <a:ext cx="1088136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1A706B56-42BE-4BCB-8761-8C28BEF6B9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6069769"/>
            <a:ext cx="1892272" cy="731520"/>
          </a:xfrm>
          <a:prstGeom prst="rect">
            <a:avLst/>
          </a:prstGeom>
        </p:spPr>
      </p:pic>
    </p:spTree>
    <p:custDataLst>
      <p:tags r:id="rId14"/>
    </p:custDataLst>
    <p:extLst>
      <p:ext uri="{BB962C8B-B14F-4D97-AF65-F5344CB8AC3E}">
        <p14:creationId xmlns:p14="http://schemas.microsoft.com/office/powerpoint/2010/main" val="1099912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rgbClr val="232B7C"/>
          </a:solidFill>
          <a:latin typeface="+mn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667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972200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232B7C"/>
        </a:buClr>
        <a:buFont typeface="Calibri" panose="020F0502020204030204" pitchFamily="34" charset="0"/>
        <a:buChar char="ꟷ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974323" cy="6342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253330"/>
            <a:ext cx="10974323" cy="47690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2CB7D99-1B9B-4BF4-885E-6610D32C44F5}"/>
              </a:ext>
            </a:extLst>
          </p:cNvPr>
          <p:cNvGrpSpPr/>
          <p:nvPr userDrawn="1"/>
        </p:nvGrpSpPr>
        <p:grpSpPr>
          <a:xfrm>
            <a:off x="0" y="0"/>
            <a:ext cx="548640" cy="6858000"/>
            <a:chOff x="0" y="0"/>
            <a:chExt cx="411480" cy="51435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8D4EB9B-CFAD-4822-B717-0EBA0ECBB835}"/>
                </a:ext>
              </a:extLst>
            </p:cNvPr>
            <p:cNvSpPr/>
            <p:nvPr/>
          </p:nvSpPr>
          <p:spPr>
            <a:xfrm>
              <a:off x="0" y="0"/>
              <a:ext cx="411480" cy="5143500"/>
            </a:xfrm>
            <a:prstGeom prst="rect">
              <a:avLst/>
            </a:prstGeom>
            <a:solidFill>
              <a:srgbClr val="232B7C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C58F39E-A5CD-46C1-AB04-64A30C3F6C08}"/>
                </a:ext>
              </a:extLst>
            </p:cNvPr>
            <p:cNvSpPr/>
            <p:nvPr/>
          </p:nvSpPr>
          <p:spPr>
            <a:xfrm>
              <a:off x="0" y="0"/>
              <a:ext cx="411480" cy="2087880"/>
            </a:xfrm>
            <a:prstGeom prst="rect">
              <a:avLst/>
            </a:prstGeom>
            <a:gradFill>
              <a:gsLst>
                <a:gs pos="0">
                  <a:srgbClr val="C00000"/>
                </a:gs>
                <a:gs pos="100000">
                  <a:srgbClr val="232B7C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876297A-8743-4312-95C7-8C0DB9052BA1}"/>
              </a:ext>
            </a:extLst>
          </p:cNvPr>
          <p:cNvCxnSpPr/>
          <p:nvPr userDrawn="1"/>
        </p:nvCxnSpPr>
        <p:spPr>
          <a:xfrm>
            <a:off x="931163" y="1046771"/>
            <a:ext cx="1088136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1A706B56-42BE-4BCB-8761-8C28BEF6B9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6069769"/>
            <a:ext cx="1892272" cy="73152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0610B7F-0992-40D5-9198-207A77E619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0"/>
          <a:srcRect t="7683" b="23372"/>
          <a:stretch/>
        </p:blipFill>
        <p:spPr>
          <a:xfrm>
            <a:off x="774408" y="6023190"/>
            <a:ext cx="1445888" cy="611412"/>
          </a:xfrm>
          <a:prstGeom prst="rect">
            <a:avLst/>
          </a:prstGeom>
        </p:spPr>
      </p:pic>
    </p:spTree>
    <p:custDataLst>
      <p:tags r:id="rId18"/>
    </p:custDataLst>
    <p:extLst>
      <p:ext uri="{BB962C8B-B14F-4D97-AF65-F5344CB8AC3E}">
        <p14:creationId xmlns:p14="http://schemas.microsoft.com/office/powerpoint/2010/main" val="29918416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7" r:id="rId16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rgbClr val="232B7C"/>
          </a:solidFill>
          <a:latin typeface="+mn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667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972200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232B7C"/>
        </a:buClr>
        <a:buFont typeface="Calibri" panose="020F0502020204030204" pitchFamily="34" charset="0"/>
        <a:buChar char="ꟷ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3.xml"/><Relationship Id="rId6" Type="http://schemas.openxmlformats.org/officeDocument/2006/relationships/hyperlink" Target="https://www.ncosc.gov/state-agency-resources/ncfs-newsletter" TargetMode="External"/><Relationship Id="rId5" Type="http://schemas.openxmlformats.org/officeDocument/2006/relationships/hyperlink" Target="https://www.ncosc.gov/state-agency-resources/ncfs-resources/2026-communications" TargetMode="External"/><Relationship Id="rId4" Type="http://schemas.openxmlformats.org/officeDocument/2006/relationships/hyperlink" Target="https://www.ncosc.gov/state-agency-resources" TargetMode="Externa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ncosc.gov/state-agency-resources/ncfs-resources/1099-important-session" TargetMode="External"/><Relationship Id="rId13" Type="http://schemas.openxmlformats.org/officeDocument/2006/relationships/hyperlink" Target="https://www.ncosc.gov/state-agency-resources/ncfs-resources/ncfs-system-information/ncfs-daily-processing-schedule-job-runs" TargetMode="External"/><Relationship Id="rId18" Type="http://schemas.openxmlformats.org/officeDocument/2006/relationships/hyperlink" Target="https://www.ncosc.gov/training/ncfs-system-training/NCFS-help-documents" TargetMode="External"/><Relationship Id="rId26" Type="http://schemas.openxmlformats.org/officeDocument/2006/relationships/hyperlink" Target="https://www.ncosc.gov/state-agency-resources/ncfs-resources/otbi-video-tutorials" TargetMode="External"/><Relationship Id="rId3" Type="http://schemas.openxmlformats.org/officeDocument/2006/relationships/notesSlide" Target="../notesSlides/notesSlide10.xml"/><Relationship Id="rId21" Type="http://schemas.openxmlformats.org/officeDocument/2006/relationships/hyperlink" Target="https://www.ncosc.gov/training/ncfs-system-training/ncfs-help-documents/sec-01-ncfs-security-request" TargetMode="External"/><Relationship Id="rId7" Type="http://schemas.openxmlformats.org/officeDocument/2006/relationships/hyperlink" Target="https://www.ncosc.gov/state-agency-resources/ncfs-resources/ncfs-system-status" TargetMode="External"/><Relationship Id="rId12" Type="http://schemas.openxmlformats.org/officeDocument/2006/relationships/hyperlink" Target="https://www.ncosc.gov/state-agency-resources/ncfs-resources/ncfs-system-information" TargetMode="External"/><Relationship Id="rId17" Type="http://schemas.openxmlformats.org/officeDocument/2006/relationships/hyperlink" Target="https://www.ncosc.gov/state-agency-resources/ncfs-newsletter" TargetMode="External"/><Relationship Id="rId25" Type="http://schemas.openxmlformats.org/officeDocument/2006/relationships/hyperlink" Target="https://www.ncosc.gov/training/ncfs-system-training/ncfs-help-documents/gen-10-pre-built-reports-all-process-areas" TargetMode="External"/><Relationship Id="rId2" Type="http://schemas.openxmlformats.org/officeDocument/2006/relationships/slideLayout" Target="../slideLayouts/slideLayout9.xml"/><Relationship Id="rId16" Type="http://schemas.openxmlformats.org/officeDocument/2006/relationships/hyperlink" Target="https://www.ncosc.gov/sites/default/files/2025-01/NCFS_IC_Contacts%20010625.xlsx" TargetMode="External"/><Relationship Id="rId20" Type="http://schemas.openxmlformats.org/officeDocument/2006/relationships/hyperlink" Target="https://www.ncosc.gov/training/ncfs-security-roles/ncfs-security-administrators" TargetMode="External"/><Relationship Id="rId1" Type="http://schemas.openxmlformats.org/officeDocument/2006/relationships/tags" Target="../tags/tag24.xml"/><Relationship Id="rId6" Type="http://schemas.openxmlformats.org/officeDocument/2006/relationships/hyperlink" Target="https://www.ncosc.gov/state-agency-resources/ncfs-resources/agency-year-end-activity-checklist-and-instructions" TargetMode="External"/><Relationship Id="rId11" Type="http://schemas.openxmlformats.org/officeDocument/2006/relationships/hyperlink" Target="https://www.ncosc.gov/state-agency-resources/ncfs-system-information/ncas-ncfs-reporting" TargetMode="External"/><Relationship Id="rId24" Type="http://schemas.openxmlformats.org/officeDocument/2006/relationships/hyperlink" Target="https://www.ncosc.gov/training/ncfs-system-training/ncfs-course-catalog" TargetMode="External"/><Relationship Id="rId5" Type="http://schemas.openxmlformats.org/officeDocument/2006/relationships/hyperlink" Target="https://www.ncosc.gov/training/ncfs-system-training/ncfs-help-documents/gen-11-ncfs-reference-links" TargetMode="External"/><Relationship Id="rId15" Type="http://schemas.openxmlformats.org/officeDocument/2006/relationships/hyperlink" Target="https://www.ncosc.gov/state-agency-resources/ncfs-resources/ncfs-change-request-intake-form" TargetMode="External"/><Relationship Id="rId23" Type="http://schemas.openxmlformats.org/officeDocument/2006/relationships/hyperlink" Target="https://www.ncosc.gov/training/ncfs-system-training/ncfs-help-documents/sec-02-pre-built-reports-security" TargetMode="External"/><Relationship Id="rId10" Type="http://schemas.openxmlformats.org/officeDocument/2006/relationships/hyperlink" Target="https://app.powerbigov.us/view?r=eyJrIjoiMDJjYjUyNWUtODUxMC00NTE0LWE4YzUtMDFmYmI4NzQxMmRjIiwidCI6ImExZjQzZjQ4LTU0ZmUtNDMzZi05Mzc4LTk2OGI0NWJjNjY2NSJ9" TargetMode="External"/><Relationship Id="rId19" Type="http://schemas.openxmlformats.org/officeDocument/2006/relationships/hyperlink" Target="https://www.ncosc.gov/training/ncfs-system-training/ncfs-security-roles" TargetMode="External"/><Relationship Id="rId4" Type="http://schemas.openxmlformats.org/officeDocument/2006/relationships/hyperlink" Target="https://www.ncosc.gov/training/ncfs-system-training/ncfs-help-documents/gen-02-acronym-list" TargetMode="External"/><Relationship Id="rId9" Type="http://schemas.openxmlformats.org/officeDocument/2006/relationships/hyperlink" Target="https://www.ncosc.gov/state-agency-resources/chart-accounts/ncfs-chart-accounts" TargetMode="External"/><Relationship Id="rId14" Type="http://schemas.openxmlformats.org/officeDocument/2006/relationships/hyperlink" Target="https://www.ncosc.gov/state-agency-resources/ncfs-resources/month-end-certification" TargetMode="External"/><Relationship Id="rId22" Type="http://schemas.openxmlformats.org/officeDocument/2006/relationships/hyperlink" Target="https://www.ncosc.gov/state-agency-resources/statewide-policy-directory/80002-request-security-access-north-carolina-financial-system-ncfs" TargetMode="External"/><Relationship Id="rId27" Type="http://schemas.openxmlformats.org/officeDocument/2006/relationships/hyperlink" Target="https://www.ncosc.gov/state-agency-resources/ncfs-resources/pcard-video-tutorials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5.xml"/><Relationship Id="rId5" Type="http://schemas.openxmlformats.org/officeDocument/2006/relationships/image" Target="../media/image16.png"/><Relationship Id="rId4" Type="http://schemas.openxmlformats.org/officeDocument/2006/relationships/hyperlink" Target="https://www.ncosc.gov/state-agency-resources/ncfs-resources/ncfs-system-information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26.xml"/><Relationship Id="rId6" Type="http://schemas.openxmlformats.org/officeDocument/2006/relationships/image" Target="../media/image17.jpe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cosc.gov/sites/default/files/2025-11/Training_Success_NCFS_Checklist_112125.pdf" TargetMode="Externa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7.xml"/><Relationship Id="rId4" Type="http://schemas.openxmlformats.org/officeDocument/2006/relationships/hyperlink" Target="mailto:OSC.Training@ncosc.gov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cosc.gov/training/ncfs-system-training/ncfs-course-catalog" TargetMode="Externa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8.xml"/><Relationship Id="rId5" Type="http://schemas.openxmlformats.org/officeDocument/2006/relationships/hyperlink" Target="https://www.ncosc.gov/sites/default/files/2024-12/SEC01_NCFS_Security_Request.pdf" TargetMode="External"/><Relationship Id="rId4" Type="http://schemas.openxmlformats.org/officeDocument/2006/relationships/hyperlink" Target="https://www.ncosc.gov/training/ncfs-system-training/ncfs-security-roles" TargetMode="Externa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9.xml"/><Relationship Id="rId1" Type="http://schemas.openxmlformats.org/officeDocument/2006/relationships/tags" Target="../tags/tag2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30.xml"/><Relationship Id="rId6" Type="http://schemas.openxmlformats.org/officeDocument/2006/relationships/image" Target="../media/image18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notesSlide" Target="../notesSlides/notesSlide14.xml"/><Relationship Id="rId7" Type="http://schemas.openxmlformats.org/officeDocument/2006/relationships/hyperlink" Target="https://www.oracle.com/apac/security/cloud-security/identity-cloud/" TargetMode="Externa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1.xml"/><Relationship Id="rId6" Type="http://schemas.openxmlformats.org/officeDocument/2006/relationships/hyperlink" Target="https://www.oracle.com/security/identity-management/what-is-iam/" TargetMode="External"/><Relationship Id="rId5" Type="http://schemas.openxmlformats.org/officeDocument/2006/relationships/hyperlink" Target="https://www.oracle.com/security/cloud-security/identity-cloud/faq/" TargetMode="External"/><Relationship Id="rId4" Type="http://schemas.openxmlformats.org/officeDocument/2006/relationships/hyperlink" Target="https://www.oracle.com/security/cloud-security/identity-cloud/" TargetMode="Externa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2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33.xml"/><Relationship Id="rId6" Type="http://schemas.openxmlformats.org/officeDocument/2006/relationships/image" Target="../media/image2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7" Type="http://schemas.openxmlformats.org/officeDocument/2006/relationships/hyperlink" Target="https://teams.microsoft.com/meet/2957411246691?p=ON5pBVaA36RkuYgVTz" TargetMode="Externa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4.xml"/><Relationship Id="rId6" Type="http://schemas.openxmlformats.org/officeDocument/2006/relationships/hyperlink" Target="https://teams.microsoft.com/l/meetup-join/19%3ameeting_N2NmNDg0NmUtZWFkMS00YjFkLTljMzQtM2Q5ZDI4OGU2ZDJl%40thread.v2/0?context=%7b%22Tid%22%3a%22a1f43f48-54fe-433f-9378-968b45bc6665%22%2c%22Oid%22%3a%22a97f2b47-fee0-4f84-a663-b1d45b4d0254%22%7d" TargetMode="External"/><Relationship Id="rId5" Type="http://schemas.openxmlformats.org/officeDocument/2006/relationships/hyperlink" Target="https://www.ncosc.gov/state-agency-resources/ncfs-resources/2026-communications" TargetMode="External"/><Relationship Id="rId4" Type="http://schemas.openxmlformats.org/officeDocument/2006/relationships/hyperlink" Target="https://teams.microsoft.com/l/meetup-join/19%3ameeting_ZjdhN2Y4ZDEtYjUyZC00YjE1LWFkZjAtYWRiNGNkZjcxMTRh%40thread.v2/0?context=%7b%22Tid%22%3a%22a1f43f48-54fe-433f-9378-968b45bc6665%22%2c%22Oid%22%3a%22a97f2b47-fee0-4f84-a663-b1d45b4d0254%22%7d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cosc.gov/state-agency-resources/ncfs-resources/ncfs-system-information" TargetMode="Externa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5.xml"/><Relationship Id="rId4" Type="http://schemas.openxmlformats.org/officeDocument/2006/relationships/image" Target="../media/image2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6.xml"/><Relationship Id="rId6" Type="http://schemas.openxmlformats.org/officeDocument/2006/relationships/image" Target="../media/image26.jpeg"/><Relationship Id="rId5" Type="http://schemas.openxmlformats.org/officeDocument/2006/relationships/hyperlink" Target="mailto:ncfs@ncosc.gov" TargetMode="External"/><Relationship Id="rId4" Type="http://schemas.openxmlformats.org/officeDocument/2006/relationships/hyperlink" Target="https://forms.office.com/g/sdmj3R5FTM" TargetMode="Externa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mailto:heide.w.rumble@nccourts.org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Relationship Id="rId5" Type="http://schemas.openxmlformats.org/officeDocument/2006/relationships/hyperlink" Target="mailto:elizabeth.lane@ncosc.gov" TargetMode="External"/><Relationship Id="rId4" Type="http://schemas.openxmlformats.org/officeDocument/2006/relationships/hyperlink" Target="mailto:bricej@wssu.edu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6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8.jpeg"/><Relationship Id="rId12" Type="http://schemas.microsoft.com/office/2007/relationships/hdphoto" Target="../media/hdphoto3.wdp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7.xml"/><Relationship Id="rId6" Type="http://schemas.microsoft.com/office/2007/relationships/hdphoto" Target="../media/hdphoto1.wdp"/><Relationship Id="rId11" Type="http://schemas.openxmlformats.org/officeDocument/2006/relationships/image" Target="../media/image11.png"/><Relationship Id="rId5" Type="http://schemas.openxmlformats.org/officeDocument/2006/relationships/image" Target="../media/image7.png"/><Relationship Id="rId10" Type="http://schemas.microsoft.com/office/2007/relationships/hdphoto" Target="../media/hdphoto2.wdp"/><Relationship Id="rId4" Type="http://schemas.openxmlformats.org/officeDocument/2006/relationships/image" Target="../media/image6.png"/><Relationship Id="rId9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18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9.xml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notesSlide" Target="../notesSlides/notesSlide6.xml"/><Relationship Id="rId7" Type="http://schemas.openxmlformats.org/officeDocument/2006/relationships/diagramColors" Target="../diagrams/colors1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0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22.xml"/><Relationship Id="rId6" Type="http://schemas.openxmlformats.org/officeDocument/2006/relationships/image" Target="../media/image8.jpe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8329A8-3BAF-0D4F-633C-9B8CF8EACCD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/>
            <a:r>
              <a:rPr kumimoji="0" lang="en-US" sz="8000" b="1" i="0" u="none" strike="noStrike" kern="1200" cap="none" spc="0" normalizeH="0" baseline="0" noProof="0" dirty="0">
                <a:ln>
                  <a:noFill/>
                </a:ln>
                <a:solidFill>
                  <a:srgbClr val="2E328B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NCFS </a:t>
            </a:r>
            <a:r>
              <a:rPr kumimoji="0" lang="en-US" sz="8000" b="1" i="0" u="none" strike="noStrike" kern="1200" cap="none" spc="0" normalizeH="0" baseline="0" noProof="0" dirty="0">
                <a:ln>
                  <a:noFill/>
                </a:ln>
                <a:solidFill>
                  <a:srgbClr val="2E328B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Insights</a:t>
            </a:r>
            <a:endParaRPr lang="en-US" dirty="0">
              <a:solidFill>
                <a:srgbClr val="2E328B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9E45C9-0304-CF89-4A64-1A264FBD483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2E328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ebruary 4, 2026</a:t>
            </a:r>
            <a:endParaRPr kumimoji="0" lang="en-US" sz="4800" b="1" i="0" u="none" strike="noStrike" kern="1200" cap="none" spc="0" normalizeH="0" baseline="0" noProof="0" dirty="0">
              <a:ln>
                <a:noFill/>
              </a:ln>
              <a:solidFill>
                <a:srgbClr val="2E328B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153485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703CD3-F5B4-B0D6-C99C-B9B612731A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E328B"/>
                </a:solidFill>
                <a:ea typeface="Calibri"/>
                <a:cs typeface="Calibri"/>
              </a:rPr>
              <a:t>Website Information</a:t>
            </a:r>
            <a:endParaRPr lang="en-US" dirty="0">
              <a:solidFill>
                <a:srgbClr val="2E328B"/>
              </a:solidFill>
              <a:highlight>
                <a:srgbClr val="FFFF00"/>
              </a:highlight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C7D17A7-543C-F663-B3F0-3CC0CBE96357}"/>
              </a:ext>
            </a:extLst>
          </p:cNvPr>
          <p:cNvSpPr txBox="1"/>
          <p:nvPr/>
        </p:nvSpPr>
        <p:spPr>
          <a:xfrm>
            <a:off x="838200" y="1287366"/>
            <a:ext cx="10994136" cy="518603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>
                <a:hlinkClick r:id="rId4"/>
              </a:rPr>
              <a:t>NCFS Website</a:t>
            </a:r>
            <a:r>
              <a:rPr lang="en-US" sz="2000"/>
              <a:t> – State Agency Resources</a:t>
            </a:r>
          </a:p>
          <a:p>
            <a:endParaRPr lang="en-US" sz="2650"/>
          </a:p>
          <a:p>
            <a:endParaRPr lang="en-US" sz="2650"/>
          </a:p>
          <a:p>
            <a:endParaRPr lang="en-US" sz="2650"/>
          </a:p>
          <a:p>
            <a:endParaRPr lang="en-US" sz="2650"/>
          </a:p>
          <a:p>
            <a:endParaRPr lang="en-US" sz="2650"/>
          </a:p>
          <a:p>
            <a:endParaRPr lang="en-US" sz="2650"/>
          </a:p>
          <a:p>
            <a:endParaRPr lang="en-US" sz="2000"/>
          </a:p>
          <a:p>
            <a:r>
              <a:rPr lang="en-US" sz="2000"/>
              <a:t>Communication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/>
              <a:t>Distributed by email based on process area (example - AP) and security role held for the process area (example – NCFS AP Inquiry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>
                <a:ea typeface="Calibri" panose="020F0502020204030204"/>
                <a:cs typeface="Calibri" panose="020F0502020204030204"/>
                <a:hlinkClick r:id="rId5"/>
              </a:rPr>
              <a:t>Published Communications</a:t>
            </a:r>
            <a:r>
              <a:rPr lang="en-US" sz="2000">
                <a:ea typeface="Calibri" panose="020F0502020204030204"/>
                <a:cs typeface="Calibri" panose="020F0502020204030204"/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>
                <a:hlinkClick r:id="rId6"/>
              </a:rPr>
              <a:t>NCFS Newsletter</a:t>
            </a:r>
            <a:endParaRPr lang="en-US" sz="2000"/>
          </a:p>
          <a:p>
            <a:pPr marL="171450" indent="-171450">
              <a:buFont typeface="Calibri"/>
              <a:buChar char="-"/>
            </a:pPr>
            <a:endParaRPr lang="en-US" sz="2000">
              <a:ea typeface="Calibri"/>
              <a:cs typeface="Calibri"/>
            </a:endParaRPr>
          </a:p>
          <a:p>
            <a:endParaRPr lang="en-US" sz="1200">
              <a:solidFill>
                <a:srgbClr val="444444"/>
              </a:solidFill>
              <a:ea typeface="Calibri"/>
              <a:cs typeface="Calibri"/>
            </a:endParaRPr>
          </a:p>
        </p:txBody>
      </p:sp>
      <p:pic>
        <p:nvPicPr>
          <p:cNvPr id="7" name="Picture 6" descr="Four tiles on the OSC State Agency Resources web page for NCFS Login, Newsletter, Resources and Training &amp; Help Documents.">
            <a:extLst>
              <a:ext uri="{FF2B5EF4-FFF2-40B4-BE49-F238E27FC236}">
                <a16:creationId xmlns:a16="http://schemas.microsoft.com/office/drawing/2014/main" id="{DC8369DD-3315-B934-13BA-A1D046205CD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8640" y="1867719"/>
            <a:ext cx="11543071" cy="2266767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13A5962-B798-8B89-B116-117B2EE5F5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10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210744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C887B2-189A-5AC7-ADE1-08EAD9D952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493A95-10A2-3D5B-908C-BA9C9F20C7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E328B"/>
                </a:solidFill>
                <a:ea typeface="Calibri"/>
                <a:cs typeface="Calibri"/>
              </a:rPr>
              <a:t>NCFS Resources and Help Documents</a:t>
            </a:r>
            <a:endParaRPr lang="en-US" dirty="0">
              <a:solidFill>
                <a:srgbClr val="2E328B"/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B57619A-0211-5DC2-6C0C-AD0DC58E4E30}"/>
              </a:ext>
            </a:extLst>
          </p:cNvPr>
          <p:cNvSpPr txBox="1"/>
          <p:nvPr/>
        </p:nvSpPr>
        <p:spPr>
          <a:xfrm>
            <a:off x="838200" y="1119872"/>
            <a:ext cx="11049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ea typeface="Calibri"/>
                <a:cs typeface="Calibri"/>
                <a:hlinkClick r:id="rId4"/>
              </a:rPr>
              <a:t>GEN-02 Acronym List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>
                <a:ea typeface="Calibri"/>
                <a:cs typeface="Calibri"/>
                <a:hlinkClick r:id="rId5"/>
              </a:rPr>
              <a:t>–</a:t>
            </a:r>
            <a:r>
              <a:rPr lang="en-US">
                <a:ea typeface="Calibri"/>
                <a:cs typeface="Calibri"/>
              </a:rPr>
              <a:t> A Quick Reference Guide (QRG) of frequently used acronyms. Very helpful!</a:t>
            </a:r>
            <a:endParaRPr lang="en-US" sz="1800">
              <a:ea typeface="Calibri"/>
              <a:cs typeface="Calibri"/>
              <a:hlinkClick r:id="rId5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>
                <a:ea typeface="Calibri"/>
                <a:cs typeface="Calibri"/>
                <a:hlinkClick r:id="rId5"/>
              </a:rPr>
              <a:t>GEN-11 NCFS Reference Links</a:t>
            </a:r>
            <a:r>
              <a:rPr lang="en-US" sz="1800">
                <a:ea typeface="Calibri"/>
                <a:cs typeface="Calibri"/>
              </a:rPr>
              <a:t> – A Quick Reference Guide (QRG) to frequently used links and resources.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0C776C8-6C65-DC0F-01CC-F8E0D0E6E620}"/>
              </a:ext>
            </a:extLst>
          </p:cNvPr>
          <p:cNvSpPr txBox="1"/>
          <p:nvPr/>
        </p:nvSpPr>
        <p:spPr>
          <a:xfrm>
            <a:off x="2183363" y="2049128"/>
            <a:ext cx="3912637" cy="407367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CFS Resources</a:t>
            </a:r>
            <a:endParaRPr kumimoji="0" lang="en-US" sz="1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377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kumimoji="0" lang="en-US" sz="1200" b="0" i="0" u="sng" strike="noStrike" kern="100" cap="none" spc="0" normalizeH="0" baseline="0" noProof="0" dirty="0">
                <a:ln>
                  <a:noFill/>
                </a:ln>
                <a:solidFill>
                  <a:srgbClr val="467886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  <a:hlinkClick r:id="rId6"/>
              </a:rPr>
              <a:t>Agency Year-End Activity Checklist and Instructions</a:t>
            </a:r>
            <a:endParaRPr kumimoji="0" lang="en-US" sz="1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377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kumimoji="0" lang="en-US" sz="1200" b="0" i="0" u="sng" strike="noStrike" kern="100" cap="none" spc="0" normalizeH="0" baseline="0" noProof="0" dirty="0">
                <a:ln>
                  <a:noFill/>
                </a:ln>
                <a:solidFill>
                  <a:srgbClr val="467886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  <a:hlinkClick r:id="rId7"/>
              </a:rPr>
              <a:t>NCFS System Status</a:t>
            </a:r>
            <a:endParaRPr kumimoji="0" lang="en-US" sz="1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377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kumimoji="0" lang="en-US" sz="1200" b="0" i="0" u="sng" strike="noStrike" kern="100" cap="none" spc="0" normalizeH="0" baseline="0" noProof="0" dirty="0">
                <a:ln>
                  <a:noFill/>
                </a:ln>
                <a:solidFill>
                  <a:srgbClr val="467886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  <a:hlinkClick r:id="rId8"/>
              </a:rPr>
              <a:t>1099 Important Information</a:t>
            </a:r>
            <a:endParaRPr kumimoji="0" lang="en-US" sz="1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377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kumimoji="0" lang="en-US" sz="1200" b="0" i="0" u="sng" strike="noStrike" kern="100" cap="none" spc="0" normalizeH="0" baseline="0" noProof="0" dirty="0">
                <a:ln>
                  <a:noFill/>
                </a:ln>
                <a:solidFill>
                  <a:srgbClr val="467886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  <a:hlinkClick r:id="rId9"/>
              </a:rPr>
              <a:t>NCFS Chart of Accounts</a:t>
            </a:r>
            <a:endParaRPr kumimoji="0" lang="en-US" sz="1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377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kumimoji="0" lang="en-US" sz="1200" b="0" i="0" u="sng" strike="noStrike" kern="100" cap="none" spc="0" normalizeH="0" baseline="0" noProof="0" dirty="0">
                <a:ln>
                  <a:noFill/>
                </a:ln>
                <a:solidFill>
                  <a:srgbClr val="467886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  <a:hlinkClick r:id="rId10"/>
              </a:rPr>
              <a:t>NCAS_NCFS COA Chart of Accounts Mapping</a:t>
            </a:r>
            <a:endParaRPr kumimoji="0" lang="en-US" sz="1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377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kumimoji="0" lang="en-US" sz="1200" b="0" i="0" u="sng" strike="noStrike" kern="100" cap="none" spc="0" normalizeH="0" baseline="0" noProof="0" dirty="0">
                <a:ln>
                  <a:noFill/>
                </a:ln>
                <a:solidFill>
                  <a:srgbClr val="467886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  <a:hlinkClick r:id="rId11"/>
              </a:rPr>
              <a:t>NCAS_NCFS Reporting</a:t>
            </a:r>
            <a:endParaRPr kumimoji="0" lang="en-US" sz="1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377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kumimoji="0" lang="en-US" sz="1200" b="0" i="0" u="sng" strike="noStrike" kern="100" cap="none" spc="0" normalizeH="0" baseline="0" noProof="0" dirty="0">
                <a:ln>
                  <a:noFill/>
                </a:ln>
                <a:solidFill>
                  <a:srgbClr val="467886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  <a:hlinkClick r:id="rId12"/>
              </a:rPr>
              <a:t>NCFS Functional Calendar</a:t>
            </a:r>
            <a:endParaRPr kumimoji="0" lang="en-US" sz="1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377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kumimoji="0" lang="en-US" sz="1200" b="0" i="0" u="sng" strike="noStrike" kern="100" cap="none" spc="0" normalizeH="0" baseline="0" noProof="0" dirty="0">
                <a:ln>
                  <a:noFill/>
                </a:ln>
                <a:solidFill>
                  <a:srgbClr val="467886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  <a:hlinkClick r:id="rId13"/>
              </a:rPr>
              <a:t>NCFS Daily Processing Schedule Job Runs</a:t>
            </a:r>
            <a:endParaRPr kumimoji="0" lang="en-US" sz="1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377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kumimoji="0" lang="en-US" sz="1200" b="0" i="0" u="sng" strike="noStrike" kern="100" cap="none" spc="0" normalizeH="0" baseline="0" noProof="0" dirty="0">
                <a:ln>
                  <a:noFill/>
                </a:ln>
                <a:solidFill>
                  <a:srgbClr val="467886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  <a:hlinkClick r:id="rId14"/>
              </a:rPr>
              <a:t>Month End Certification</a:t>
            </a:r>
            <a:endParaRPr kumimoji="0" lang="en-US" sz="1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377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kumimoji="0" lang="en-US" sz="1200" b="0" i="0" u="sng" strike="noStrike" kern="100" cap="none" spc="0" normalizeH="0" baseline="0" noProof="0" dirty="0">
                <a:ln>
                  <a:noFill/>
                </a:ln>
                <a:solidFill>
                  <a:srgbClr val="467886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  <a:hlinkClick r:id="rId15"/>
              </a:rPr>
              <a:t>NCFS Change Request Intake Form</a:t>
            </a:r>
            <a:endParaRPr kumimoji="0" lang="en-US" sz="1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377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kumimoji="0" lang="en-US" sz="1200" b="0" i="0" u="sng" strike="noStrike" kern="100" cap="none" spc="0" normalizeH="0" baseline="0" noProof="0" dirty="0">
                <a:ln>
                  <a:noFill/>
                </a:ln>
                <a:solidFill>
                  <a:srgbClr val="467886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  <a:hlinkClick r:id="rId16"/>
              </a:rPr>
              <a:t>Agency IC Contacts</a:t>
            </a:r>
            <a:endParaRPr kumimoji="0" lang="en-US" sz="1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377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kumimoji="0" lang="en-US" sz="1200" b="0" i="0" u="sng" strike="noStrike" kern="100" cap="none" spc="0" normalizeH="0" baseline="0" noProof="0" dirty="0">
                <a:ln>
                  <a:noFill/>
                </a:ln>
                <a:solidFill>
                  <a:srgbClr val="467886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  <a:hlinkClick r:id="rId17"/>
              </a:rPr>
              <a:t>NCFS Newsletter</a:t>
            </a:r>
            <a:endParaRPr kumimoji="0" lang="en-US" sz="1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F0EC58F-FF9E-39A7-5F72-5766F8970938}"/>
              </a:ext>
            </a:extLst>
          </p:cNvPr>
          <p:cNvSpPr txBox="1"/>
          <p:nvPr/>
        </p:nvSpPr>
        <p:spPr>
          <a:xfrm>
            <a:off x="6096000" y="2100423"/>
            <a:ext cx="4127241" cy="397108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CFS Training and Help Documents</a:t>
            </a:r>
            <a:endParaRPr kumimoji="0" lang="en-US" sz="1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377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kumimoji="0" lang="en-US" sz="1200" b="0" i="0" u="sng" strike="noStrike" kern="100" cap="none" spc="0" normalizeH="0" baseline="0" noProof="0" dirty="0">
                <a:ln>
                  <a:noFill/>
                </a:ln>
                <a:solidFill>
                  <a:srgbClr val="467886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  <a:hlinkClick r:id="rId18"/>
              </a:rPr>
              <a:t>NCFS Help and Quick Reference Guide Documents</a:t>
            </a:r>
            <a:endParaRPr kumimoji="0" lang="en-US" sz="1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377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kumimoji="0" lang="en-US" sz="1200" b="0" i="0" u="sng" strike="noStrike" kern="100" cap="none" spc="0" normalizeH="0" baseline="0" noProof="0" dirty="0">
                <a:ln>
                  <a:noFill/>
                </a:ln>
                <a:solidFill>
                  <a:srgbClr val="467886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  <a:hlinkClick r:id="rId19"/>
              </a:rPr>
              <a:t>NCFS Security Roles</a:t>
            </a:r>
            <a:endParaRPr kumimoji="0" lang="en-US" sz="1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377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kumimoji="0" lang="en-US" sz="1200" b="0" i="0" u="sng" strike="noStrike" kern="100" cap="none" spc="0" normalizeH="0" baseline="0" noProof="0" dirty="0">
                <a:ln>
                  <a:noFill/>
                </a:ln>
                <a:solidFill>
                  <a:srgbClr val="467886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  <a:hlinkClick r:id="rId20"/>
              </a:rPr>
              <a:t>NCFS Security Administrators</a:t>
            </a:r>
            <a:endParaRPr kumimoji="0" lang="en-US" sz="1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377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kumimoji="0" lang="en-US" sz="1200" b="0" i="0" u="sng" strike="noStrike" kern="100" cap="none" spc="0" normalizeH="0" baseline="0" noProof="0" dirty="0">
                <a:ln>
                  <a:noFill/>
                </a:ln>
                <a:solidFill>
                  <a:srgbClr val="467886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  <a:hlinkClick r:id="rId21"/>
              </a:rPr>
              <a:t>NCFS Security Request Quick Reference Guide SEC-01</a:t>
            </a:r>
            <a:endParaRPr kumimoji="0" lang="en-US" sz="1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377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kumimoji="0" lang="en-US" sz="1200" b="0" i="0" u="sng" strike="noStrike" kern="100" cap="none" spc="0" normalizeH="0" baseline="0" noProof="0" dirty="0">
                <a:ln>
                  <a:noFill/>
                </a:ln>
                <a:solidFill>
                  <a:srgbClr val="467886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  <a:hlinkClick r:id="rId22"/>
              </a:rPr>
              <a:t>NCFS Security Exception Request</a:t>
            </a:r>
            <a:endParaRPr kumimoji="0" lang="en-US" sz="1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377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kumimoji="0" lang="en-US" sz="1200" b="0" i="0" u="sng" strike="noStrike" kern="100" cap="none" spc="0" normalizeH="0" baseline="0" noProof="0" dirty="0">
                <a:ln>
                  <a:noFill/>
                </a:ln>
                <a:solidFill>
                  <a:srgbClr val="467886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  <a:hlinkClick r:id="rId23"/>
              </a:rPr>
              <a:t>NCFS Security </a:t>
            </a:r>
            <a:r>
              <a:rPr kumimoji="0" lang="en-US" sz="1200" b="0" i="0" u="sng" strike="noStrike" kern="100" cap="none" spc="0" normalizeH="0" baseline="0" noProof="0" dirty="0" err="1">
                <a:ln>
                  <a:noFill/>
                </a:ln>
                <a:solidFill>
                  <a:srgbClr val="467886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  <a:hlinkClick r:id="rId23"/>
              </a:rPr>
              <a:t>Pre_Built</a:t>
            </a:r>
            <a:r>
              <a:rPr kumimoji="0" lang="en-US" sz="1200" b="0" i="0" u="sng" strike="noStrike" kern="100" cap="none" spc="0" normalizeH="0" baseline="0" noProof="0" dirty="0">
                <a:ln>
                  <a:noFill/>
                </a:ln>
                <a:solidFill>
                  <a:srgbClr val="467886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  <a:hlinkClick r:id="rId23"/>
              </a:rPr>
              <a:t> Reports Quick Reference Guide</a:t>
            </a:r>
            <a:endParaRPr kumimoji="0" lang="en-US" sz="1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377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kumimoji="0" lang="en-US" sz="1200" b="0" i="0" u="sng" strike="noStrike" kern="100" cap="none" spc="0" normalizeH="0" baseline="0" noProof="0" dirty="0">
                <a:ln>
                  <a:noFill/>
                </a:ln>
                <a:solidFill>
                  <a:srgbClr val="467886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  <a:hlinkClick r:id="rId24"/>
              </a:rPr>
              <a:t>NCFS Course Catalog</a:t>
            </a:r>
            <a:endParaRPr kumimoji="0" lang="en-US" sz="1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377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kumimoji="0" lang="en-US" sz="1200" b="0" i="0" u="sng" strike="noStrike" kern="100" cap="none" spc="0" normalizeH="0" baseline="0" noProof="0" dirty="0" err="1">
                <a:ln>
                  <a:noFill/>
                </a:ln>
                <a:solidFill>
                  <a:srgbClr val="467886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  <a:hlinkClick r:id="rId25"/>
              </a:rPr>
              <a:t>Pre_Built</a:t>
            </a:r>
            <a:r>
              <a:rPr kumimoji="0" lang="en-US" sz="1200" b="0" i="0" u="sng" strike="noStrike" kern="100" cap="none" spc="0" normalizeH="0" baseline="0" noProof="0" dirty="0">
                <a:ln>
                  <a:noFill/>
                </a:ln>
                <a:solidFill>
                  <a:srgbClr val="467886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  <a:hlinkClick r:id="rId25"/>
              </a:rPr>
              <a:t> Reports All Process Areas</a:t>
            </a:r>
            <a:endParaRPr kumimoji="0" lang="en-US" sz="1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377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kumimoji="0" lang="en-US" sz="1200" b="0" i="0" u="sng" strike="noStrike" kern="100" cap="none" spc="0" normalizeH="0" baseline="0" noProof="0" dirty="0">
                <a:ln>
                  <a:noFill/>
                </a:ln>
                <a:solidFill>
                  <a:srgbClr val="467886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  <a:hlinkClick r:id="rId26"/>
              </a:rPr>
              <a:t>OTBI Video Tutorials</a:t>
            </a:r>
            <a:endParaRPr kumimoji="0" lang="en-US" sz="1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377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kumimoji="0" lang="en-US" sz="1200" b="0" i="0" u="sng" strike="noStrike" kern="100" cap="none" spc="0" normalizeH="0" baseline="0" noProof="0" dirty="0" err="1">
                <a:ln>
                  <a:noFill/>
                </a:ln>
                <a:solidFill>
                  <a:srgbClr val="467886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  <a:hlinkClick r:id="rId27"/>
              </a:rPr>
              <a:t>PCard</a:t>
            </a:r>
            <a:r>
              <a:rPr kumimoji="0" lang="en-US" sz="1200" b="0" i="0" u="sng" strike="noStrike" kern="100" cap="none" spc="0" normalizeH="0" baseline="0" noProof="0" dirty="0">
                <a:ln>
                  <a:noFill/>
                </a:ln>
                <a:solidFill>
                  <a:srgbClr val="467886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  <a:hlinkClick r:id="rId27"/>
              </a:rPr>
              <a:t> Video Tutorials</a:t>
            </a:r>
            <a:endParaRPr kumimoji="0" lang="en-US" sz="1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377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kumimoji="0" lang="en-US" sz="1200" b="0" i="0" u="sng" strike="noStrike" kern="100" cap="none" spc="0" normalizeH="0" baseline="0" noProof="0" dirty="0">
                <a:ln>
                  <a:noFill/>
                </a:ln>
                <a:solidFill>
                  <a:srgbClr val="467886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  <a:hlinkClick r:id="rId4"/>
              </a:rPr>
              <a:t>NCFS Acronym List</a:t>
            </a:r>
            <a:endParaRPr kumimoji="0" lang="en-US" sz="1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B3311C5-38C1-CB2C-5D9D-447CF112DD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11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071451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3C956A-0832-A153-8B3C-84A0E1B5CC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581725-251E-A85D-2D94-50A01DBF55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E328B"/>
                </a:solidFill>
                <a:ea typeface="Calibri"/>
                <a:cs typeface="Calibri"/>
              </a:rPr>
              <a:t>Calendar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97989BD-74B4-4B3C-BDF7-7D1EA435E442}"/>
              </a:ext>
            </a:extLst>
          </p:cNvPr>
          <p:cNvSpPr txBox="1"/>
          <p:nvPr/>
        </p:nvSpPr>
        <p:spPr>
          <a:xfrm>
            <a:off x="838200" y="1132190"/>
            <a:ext cx="2654808" cy="156966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4"/>
              </a:rPr>
              <a:t>February</a:t>
            </a:r>
            <a:r>
              <a:rPr lang="en-US" dirty="0">
                <a:ea typeface="Calibri"/>
                <a:cs typeface="Calibri"/>
                <a:hlinkClick r:id="rId4"/>
              </a:rPr>
              <a:t> 2026 </a:t>
            </a:r>
            <a:br>
              <a:rPr lang="en-US" dirty="0">
                <a:ea typeface="Calibri"/>
                <a:cs typeface="Calibri"/>
                <a:hlinkClick r:id="rId4"/>
              </a:rPr>
            </a:br>
            <a:r>
              <a:rPr lang="en-US" dirty="0">
                <a:ea typeface="Calibri"/>
                <a:cs typeface="Calibri"/>
                <a:hlinkClick r:id="rId4"/>
              </a:rPr>
              <a:t>Functional Calendar</a:t>
            </a:r>
            <a:endParaRPr lang="en-US" dirty="0">
              <a:ea typeface="Calibri"/>
              <a:cs typeface="Calibri"/>
            </a:endParaRPr>
          </a:p>
          <a:p>
            <a:endParaRPr lang="en-US" sz="2000" dirty="0">
              <a:latin typeface="Calibri"/>
              <a:ea typeface="Calibri"/>
              <a:cs typeface="Calibri"/>
            </a:endParaRPr>
          </a:p>
          <a:p>
            <a:endParaRPr lang="en-US" sz="2000" dirty="0">
              <a:highlight>
                <a:srgbClr val="FFFF00"/>
              </a:highlight>
              <a:latin typeface="Calibri"/>
              <a:ea typeface="Calibri"/>
              <a:cs typeface="Calibri"/>
            </a:endParaRPr>
          </a:p>
          <a:p>
            <a:endParaRPr lang="en-US" sz="2000" dirty="0">
              <a:highlight>
                <a:srgbClr val="FFFF00"/>
              </a:highlight>
              <a:latin typeface="Calibri"/>
              <a:ea typeface="Calibri"/>
              <a:cs typeface="Calibri"/>
            </a:endParaRPr>
          </a:p>
        </p:txBody>
      </p:sp>
      <p:pic>
        <p:nvPicPr>
          <p:cNvPr id="11" name="Picture 10" descr="February 2026 Functional Calendar shows events such as this NCFS Insights meeting and other info sessions as well as important reminders, dates, and deadlines for NCFS processes.">
            <a:extLst>
              <a:ext uri="{FF2B5EF4-FFF2-40B4-BE49-F238E27FC236}">
                <a16:creationId xmlns:a16="http://schemas.microsoft.com/office/drawing/2014/main" id="{EA31B13A-BCB3-8E71-D218-4147D48DFEE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93008" y="1168910"/>
            <a:ext cx="7982712" cy="5414769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2D73CF9-245D-0C1E-405F-181D26DDF4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12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460203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512F40-5314-4C92-B98C-D74FC017EB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9506" y="372549"/>
            <a:ext cx="10969101" cy="634219"/>
          </a:xfrm>
        </p:spPr>
        <p:txBody>
          <a:bodyPr/>
          <a:lstStyle/>
          <a:p>
            <a:r>
              <a:rPr lang="en-US" dirty="0">
                <a:solidFill>
                  <a:srgbClr val="2E328B"/>
                </a:solidFill>
                <a:cs typeface="Calibri"/>
              </a:rPr>
              <a:t>NCFS Training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BBB265D-C908-5A58-8044-2C18C7CCFB44}"/>
              </a:ext>
            </a:extLst>
          </p:cNvPr>
          <p:cNvSpPr txBox="1"/>
          <p:nvPr/>
        </p:nvSpPr>
        <p:spPr>
          <a:xfrm>
            <a:off x="3447625" y="4251416"/>
            <a:ext cx="4991121" cy="9233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Laura Le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OSC Training Manager 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70C0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7C7A680-A0A2-46E4-81B4-0523D4BE3DD5}"/>
              </a:ext>
            </a:extLst>
          </p:cNvPr>
          <p:cNvSpPr txBox="1"/>
          <p:nvPr/>
        </p:nvSpPr>
        <p:spPr>
          <a:xfrm>
            <a:off x="2532081" y="5225273"/>
            <a:ext cx="6993082" cy="1332358"/>
          </a:xfrm>
          <a:prstGeom prst="rect">
            <a:avLst/>
          </a:prstGeom>
          <a:noFill/>
        </p:spPr>
        <p:txBody>
          <a:bodyPr wrap="square" lIns="91440" tIns="45720" rIns="91440" bIns="45720" anchor="t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North Carolina Financial Syste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NC Office of the State Controller - OSC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2CE900B-A071-207B-6394-442FF8D02B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47782" y="132791"/>
            <a:ext cx="2007158" cy="87397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7953733-06EA-A759-C0CE-F69B48B6F1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59873" y="5841206"/>
            <a:ext cx="1943100" cy="84772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8B2B9AA-2ACD-966A-A871-E789210A68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1" r="1501"/>
          <a:stretch/>
        </p:blipFill>
        <p:spPr>
          <a:xfrm>
            <a:off x="4830479" y="1796878"/>
            <a:ext cx="2225414" cy="229428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090EF30-4BD5-4989-8BBA-7A2EC017A6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1864445" y="5035225"/>
            <a:ext cx="8766928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BEC7AD-B2A6-4E9D-84AD-F786F31F3E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5155C8-06EF-4D76-B723-5863044CF28B}" type="slidenum">
              <a:rPr kumimoji="0" lang="en-US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4278602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9CF04-2139-E50F-FFEF-BA0A3C9D7E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E328B"/>
                </a:solidFill>
                <a:ea typeface="Calibri"/>
                <a:cs typeface="Calibri"/>
              </a:rPr>
              <a:t>Training Registration </a:t>
            </a:r>
            <a:endParaRPr lang="en-US" dirty="0">
              <a:solidFill>
                <a:srgbClr val="2E328B"/>
              </a:solidFill>
              <a:highlight>
                <a:srgbClr val="FFFF00"/>
              </a:highlight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1235976-C776-07D3-F528-2FB2654E80DE}"/>
              </a:ext>
            </a:extLst>
          </p:cNvPr>
          <p:cNvSpPr txBox="1"/>
          <p:nvPr/>
        </p:nvSpPr>
        <p:spPr>
          <a:xfrm>
            <a:off x="998588" y="1245616"/>
            <a:ext cx="8773113" cy="507831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ea typeface="Calibri"/>
                <a:cs typeface="Calibri"/>
              </a:rPr>
              <a:t>LMS Training Registratio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ea typeface="Calibri"/>
                <a:cs typeface="Calibri"/>
              </a:rPr>
              <a:t>Training Checklist </a:t>
            </a:r>
            <a:r>
              <a:rPr lang="en-US" dirty="0">
                <a:hlinkClick r:id="rId3"/>
              </a:rPr>
              <a:t>Training_Success_NCFS_Checklist_112125.pdf</a:t>
            </a:r>
            <a:endParaRPr lang="en-US" dirty="0"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ea typeface="Calibri"/>
                <a:cs typeface="Calibri"/>
              </a:rPr>
              <a:t>Important LMS Training Registration Information</a:t>
            </a:r>
          </a:p>
          <a:p>
            <a:endParaRPr lang="en-US" b="1" dirty="0">
              <a:ea typeface="Calibri"/>
              <a:cs typeface="Calibri"/>
            </a:endParaRPr>
          </a:p>
          <a:p>
            <a:r>
              <a:rPr lang="en-US" b="1" dirty="0">
                <a:ea typeface="Calibri"/>
                <a:cs typeface="Calibri"/>
              </a:rPr>
              <a:t>Registration Clo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ea typeface="Calibri"/>
                <a:cs typeface="Calibri"/>
              </a:rPr>
              <a:t>Registration closes 7 days prior to the session dat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ea typeface="Calibri"/>
                <a:cs typeface="Calibri"/>
              </a:rPr>
              <a:t>If spaces are available reach out to </a:t>
            </a:r>
            <a:r>
              <a:rPr lang="en-US" dirty="0">
                <a:ea typeface="Calibri"/>
                <a:cs typeface="Calibri"/>
                <a:hlinkClick r:id="rId4"/>
              </a:rPr>
              <a:t>OSC.Training@ncosc.gov</a:t>
            </a:r>
            <a:endParaRPr lang="en-US" dirty="0">
              <a:ea typeface="Calibri"/>
              <a:cs typeface="Calibri"/>
            </a:endParaRPr>
          </a:p>
          <a:p>
            <a:endParaRPr lang="en-US" dirty="0">
              <a:ea typeface="Calibri"/>
              <a:cs typeface="Calibri"/>
            </a:endParaRPr>
          </a:p>
          <a:p>
            <a:r>
              <a:rPr lang="en-US" b="1" dirty="0">
                <a:ea typeface="Calibri"/>
                <a:cs typeface="Calibri"/>
              </a:rPr>
              <a:t>Registration Statu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ea typeface="Calibri"/>
                <a:cs typeface="Calibri"/>
              </a:rPr>
              <a:t>Registered (has a spot in the training sessio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ea typeface="Calibri"/>
                <a:cs typeface="Calibri"/>
              </a:rPr>
              <a:t>Approved (Supervisor Approved after registration close, does not have a spot in 		   training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ea typeface="Calibri"/>
                <a:cs typeface="Calibri"/>
              </a:rPr>
              <a:t>Waitlisted (registered but the class is full may or may not have a spo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ea typeface="Calibri"/>
                <a:cs typeface="Calibri"/>
              </a:rPr>
              <a:t>Pending Prerequisite (prerequisite class needs to be complete prior to the class 		session start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ea typeface="Calibri"/>
                <a:cs typeface="Calibri"/>
              </a:rPr>
              <a:t>Pending Approval (Awaiting Employee’s Supervisor to approve the training 			reques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ea typeface="Calibri"/>
                <a:cs typeface="Calibri"/>
              </a:rPr>
              <a:t>Waitlists (Apply for waitlist and another session with availability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9AC1B34-E25D-976F-363A-E03A0C816A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14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398951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6CD5EC-D20B-3D87-78C5-02CDCAEA82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A04BC9-3EBC-0B7E-34CC-3C83287D45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E328B"/>
                </a:solidFill>
                <a:ea typeface="Calibri"/>
                <a:cs typeface="Calibri"/>
              </a:rPr>
              <a:t>Training Courses &amp; Security Roles</a:t>
            </a:r>
            <a:endParaRPr lang="en-US" dirty="0">
              <a:solidFill>
                <a:srgbClr val="2E328B"/>
              </a:solidFill>
              <a:highlight>
                <a:srgbClr val="FFFF00"/>
              </a:highlight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ED50B73-4C01-8262-2EDF-2E7F18B74161}"/>
              </a:ext>
            </a:extLst>
          </p:cNvPr>
          <p:cNvSpPr txBox="1"/>
          <p:nvPr/>
        </p:nvSpPr>
        <p:spPr>
          <a:xfrm>
            <a:off x="1018253" y="1222292"/>
            <a:ext cx="8773113" cy="535531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ea typeface="Calibri"/>
                <a:cs typeface="Calibri"/>
              </a:rPr>
              <a:t>NCFS Training</a:t>
            </a:r>
          </a:p>
          <a:p>
            <a:r>
              <a:rPr lang="en-US" dirty="0">
                <a:hlinkClick r:id="rId3"/>
              </a:rPr>
              <a:t>NCFS Course Catalog | NCOSC</a:t>
            </a:r>
            <a:endParaRPr lang="en-US" dirty="0">
              <a:ea typeface="Calibri"/>
              <a:cs typeface="Calibri"/>
            </a:endParaRPr>
          </a:p>
          <a:p>
            <a:pPr lvl="1"/>
            <a:r>
              <a:rPr lang="en-US" dirty="0">
                <a:ea typeface="Calibri"/>
                <a:cs typeface="Calibri"/>
              </a:rPr>
              <a:t>	New Trainings: 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>
                <a:ea typeface="Calibri"/>
                <a:cs typeface="Calibri"/>
              </a:rPr>
              <a:t>ACC300 (GAAP, GASB Statement No. 54, and ACFR Reporting Deficiencies)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>
                <a:ea typeface="Calibri"/>
                <a:cs typeface="Calibri"/>
              </a:rPr>
              <a:t>GL Reporting class (Reporting Classes will be created for each process area)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>
                <a:ea typeface="Calibri"/>
                <a:cs typeface="Calibri"/>
              </a:rPr>
              <a:t>INV Reporting class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>
                <a:ea typeface="Calibri"/>
                <a:cs typeface="Calibri"/>
              </a:rPr>
              <a:t>INV105 Additional Prerequisite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>
                <a:ea typeface="Calibri"/>
                <a:cs typeface="Calibri"/>
              </a:rPr>
              <a:t>AP200 Party Payment</a:t>
            </a:r>
          </a:p>
          <a:p>
            <a:r>
              <a:rPr lang="en-US" dirty="0">
                <a:ea typeface="Calibri"/>
                <a:cs typeface="Calibri"/>
              </a:rPr>
              <a:t>		</a:t>
            </a:r>
          </a:p>
          <a:p>
            <a:r>
              <a:rPr lang="en-US" dirty="0">
                <a:ea typeface="Calibri"/>
                <a:cs typeface="Calibri"/>
              </a:rPr>
              <a:t>Security Roles</a:t>
            </a:r>
          </a:p>
          <a:p>
            <a:r>
              <a:rPr lang="en-US" dirty="0">
                <a:hlinkClick r:id="rId4"/>
              </a:rPr>
              <a:t>NCFS Security Roles | NCOSC</a:t>
            </a:r>
            <a:endParaRPr lang="en-US" dirty="0"/>
          </a:p>
          <a:p>
            <a:r>
              <a:rPr lang="en-US" dirty="0">
                <a:ea typeface="Calibri"/>
                <a:cs typeface="Calibri"/>
              </a:rPr>
              <a:t>	Process </a:t>
            </a:r>
          </a:p>
          <a:p>
            <a:pPr marL="1257300" lvl="2" indent="-342900">
              <a:buFont typeface="+mj-lt"/>
              <a:buAutoNum type="arabicPeriod"/>
            </a:pPr>
            <a:r>
              <a:rPr lang="en-US" dirty="0">
                <a:ea typeface="Calibri"/>
                <a:cs typeface="Calibri"/>
              </a:rPr>
              <a:t>Agency Security Administrator Submits Security Role requests following (</a:t>
            </a:r>
            <a:r>
              <a:rPr lang="en-US" dirty="0">
                <a:hlinkClick r:id="rId5"/>
              </a:rPr>
              <a:t>SEC01 NCFS Security Request</a:t>
            </a:r>
            <a:r>
              <a:rPr lang="en-US" dirty="0"/>
              <a:t>)</a:t>
            </a:r>
          </a:p>
          <a:p>
            <a:pPr marL="1257300" lvl="2" indent="-342900">
              <a:buFont typeface="+mj-lt"/>
              <a:buAutoNum type="arabicPeriod"/>
            </a:pPr>
            <a:r>
              <a:rPr lang="en-US" dirty="0">
                <a:ea typeface="Calibri"/>
                <a:cs typeface="Calibri"/>
              </a:rPr>
              <a:t>Employee requests classes in LMS in order with prerequisites requested first</a:t>
            </a:r>
          </a:p>
          <a:p>
            <a:pPr marL="1257300" lvl="2" indent="-342900">
              <a:buFont typeface="+mj-lt"/>
              <a:buAutoNum type="arabicPeriod"/>
            </a:pPr>
            <a:r>
              <a:rPr lang="en-US" dirty="0">
                <a:ea typeface="Calibri"/>
                <a:cs typeface="Calibri"/>
              </a:rPr>
              <a:t>Employee’s Supervisor Approves training Requests</a:t>
            </a:r>
          </a:p>
          <a:p>
            <a:pPr marL="1257300" lvl="2" indent="-342900">
              <a:buFont typeface="+mj-lt"/>
              <a:buAutoNum type="arabicPeriod"/>
            </a:pPr>
            <a:r>
              <a:rPr lang="en-US" dirty="0">
                <a:ea typeface="Calibri"/>
                <a:cs typeface="Calibri"/>
              </a:rPr>
              <a:t>Employee Receives class information from OSC Training Instructors</a:t>
            </a:r>
          </a:p>
          <a:p>
            <a:pPr marL="1257300" lvl="2" indent="-342900">
              <a:buFont typeface="+mj-lt"/>
              <a:buAutoNum type="arabicPeriod"/>
            </a:pPr>
            <a:r>
              <a:rPr lang="en-US" dirty="0">
                <a:ea typeface="Calibri"/>
                <a:cs typeface="Calibri"/>
              </a:rPr>
              <a:t>Employee Receives security role upon completion of class and Administrator security role ticket submiss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2B6B402-91CC-A5D0-3842-14B0EE3BA8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15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1958133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0D606A-D1DC-C9AD-9C7F-E56C68E3F7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AE51BA-E032-74E4-08B3-CFB718517F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E328B"/>
                </a:solidFill>
                <a:ea typeface="Calibri"/>
                <a:cs typeface="Calibri"/>
              </a:rPr>
              <a:t>Training Updates </a:t>
            </a:r>
            <a:endParaRPr lang="en-US" dirty="0">
              <a:solidFill>
                <a:srgbClr val="2E328B"/>
              </a:solidFill>
              <a:highlight>
                <a:srgbClr val="FFFF00"/>
              </a:highlight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E4F6D51-3969-D6CD-C4D9-C0AFA9258543}"/>
              </a:ext>
            </a:extLst>
          </p:cNvPr>
          <p:cNvSpPr txBox="1"/>
          <p:nvPr/>
        </p:nvSpPr>
        <p:spPr>
          <a:xfrm>
            <a:off x="1047750" y="1501254"/>
            <a:ext cx="8773113" cy="424731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ea typeface="Calibri"/>
                <a:cs typeface="Calibri"/>
              </a:rPr>
              <a:t>AP200 Party Payment Course Registration Process</a:t>
            </a:r>
          </a:p>
          <a:p>
            <a:endParaRPr lang="en-US" dirty="0">
              <a:ea typeface="Calibri"/>
              <a:cs typeface="Calibri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ea typeface="Calibri"/>
                <a:cs typeface="Calibri"/>
              </a:rPr>
              <a:t>CFO/Controller must submit request for employee to take AP200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ea typeface="Calibri"/>
                <a:cs typeface="Calibri"/>
              </a:rPr>
              <a:t>Email goes to OSC Training and Agency Security Administrator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ea typeface="Calibri"/>
                <a:cs typeface="Calibri"/>
              </a:rPr>
              <a:t>OSC Training follows up with CFO/Controller to validate request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ea typeface="Calibri"/>
                <a:cs typeface="Calibri"/>
              </a:rPr>
              <a:t>Validated requests prompt OSC to assign AP200 to participant if prerequisites are met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ea typeface="Calibri"/>
                <a:cs typeface="Calibri"/>
              </a:rPr>
              <a:t>Agency Data Owner submits security request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ea typeface="Calibri"/>
                <a:cs typeface="Calibri"/>
              </a:rPr>
              <a:t>Employee completes AP200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ea typeface="Calibri"/>
                <a:cs typeface="Calibri"/>
              </a:rPr>
              <a:t>Employee receives security role</a:t>
            </a:r>
          </a:p>
          <a:p>
            <a:endParaRPr lang="en-US" dirty="0">
              <a:ea typeface="Calibri"/>
              <a:cs typeface="Calibri"/>
            </a:endParaRPr>
          </a:p>
          <a:p>
            <a:r>
              <a:rPr lang="en-US" dirty="0">
                <a:ea typeface="Calibri"/>
                <a:cs typeface="Calibri"/>
              </a:rPr>
              <a:t>*ONLY OSC Training can assign AP200!</a:t>
            </a:r>
          </a:p>
          <a:p>
            <a:endParaRPr lang="en-US" dirty="0">
              <a:ea typeface="Calibri"/>
              <a:cs typeface="Calibri"/>
            </a:endParaRPr>
          </a:p>
          <a:p>
            <a:r>
              <a:rPr lang="en-US" b="1" dirty="0">
                <a:ea typeface="Calibri"/>
                <a:cs typeface="Calibri"/>
              </a:rPr>
              <a:t>INV105 </a:t>
            </a:r>
          </a:p>
          <a:p>
            <a:r>
              <a:rPr lang="en-US" dirty="0">
                <a:ea typeface="Calibri"/>
                <a:cs typeface="Calibri"/>
              </a:rPr>
              <a:t>New prerequisite for March 17</a:t>
            </a:r>
            <a:r>
              <a:rPr lang="en-US" baseline="30000" dirty="0">
                <a:ea typeface="Calibri"/>
                <a:cs typeface="Calibri"/>
              </a:rPr>
              <a:t>th</a:t>
            </a:r>
            <a:r>
              <a:rPr lang="en-US" dirty="0">
                <a:ea typeface="Calibri"/>
                <a:cs typeface="Calibri"/>
              </a:rPr>
              <a:t> course </a:t>
            </a:r>
          </a:p>
          <a:p>
            <a:r>
              <a:rPr lang="en-US" dirty="0">
                <a:ea typeface="Calibri"/>
                <a:cs typeface="Calibri"/>
              </a:rPr>
              <a:t>Will be released and enacted on 2/20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1873A17-6C05-96B0-4193-BD659AF2F4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16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362165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512F40-5314-4C92-B98C-D74FC017EB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8167" y="356679"/>
            <a:ext cx="10969101" cy="634219"/>
          </a:xfrm>
        </p:spPr>
        <p:txBody>
          <a:bodyPr/>
          <a:lstStyle/>
          <a:p>
            <a:r>
              <a:rPr lang="en-US" dirty="0">
                <a:solidFill>
                  <a:srgbClr val="2E328B"/>
                </a:solidFill>
                <a:cs typeface="Calibri"/>
              </a:rPr>
              <a:t>NCFS Securit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BBB265D-C908-5A58-8044-2C18C7CCFB44}"/>
              </a:ext>
            </a:extLst>
          </p:cNvPr>
          <p:cNvSpPr txBox="1"/>
          <p:nvPr/>
        </p:nvSpPr>
        <p:spPr>
          <a:xfrm>
            <a:off x="3447625" y="4251416"/>
            <a:ext cx="4991121" cy="9233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Thurman Ros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Systems Application Manager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70C0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7C7A680-A0A2-46E4-81B4-0523D4BE3DD5}"/>
              </a:ext>
            </a:extLst>
          </p:cNvPr>
          <p:cNvSpPr txBox="1"/>
          <p:nvPr/>
        </p:nvSpPr>
        <p:spPr>
          <a:xfrm>
            <a:off x="2532081" y="5225273"/>
            <a:ext cx="6993082" cy="1332358"/>
          </a:xfrm>
          <a:prstGeom prst="rect">
            <a:avLst/>
          </a:prstGeom>
          <a:noFill/>
        </p:spPr>
        <p:txBody>
          <a:bodyPr wrap="square" lIns="91440" tIns="45720" rIns="91440" bIns="45720" anchor="t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North Carolina Financial Syste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NC Office of the State Controller - OSC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090EF30-4BD5-4989-8BBA-7A2EC017A6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1864445" y="5035225"/>
            <a:ext cx="8766928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F2CE900B-A071-207B-6394-442FF8D02B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47782" y="132791"/>
            <a:ext cx="2007158" cy="87397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7953733-06EA-A759-C0CE-F69B48B6F1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59873" y="5841206"/>
            <a:ext cx="1943100" cy="84772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8B2B9AA-2ACD-966A-A871-E789210A68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09" r="2609"/>
          <a:stretch/>
        </p:blipFill>
        <p:spPr>
          <a:xfrm>
            <a:off x="4830479" y="1796878"/>
            <a:ext cx="2225414" cy="229428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BEC7AD-B2A6-4E9D-84AD-F786F31F3E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5155C8-06EF-4D76-B723-5863044CF28B}" type="slidenum">
              <a:rPr kumimoji="0" lang="en-US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2797365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4EDDB2-5AF9-38EC-E258-A614F42E70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09D41B-8A79-8FE0-640F-C055B22932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E328B"/>
                </a:solidFill>
                <a:ea typeface="Calibri"/>
                <a:cs typeface="Calibri"/>
              </a:rPr>
              <a:t>OCI IAM Upgrade </a:t>
            </a:r>
            <a:endParaRPr lang="en-US" dirty="0">
              <a:solidFill>
                <a:srgbClr val="2E328B"/>
              </a:solidFill>
              <a:highlight>
                <a:srgbClr val="FFFF00"/>
              </a:highlight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CDAD0E-CBD0-9337-60BA-5FC3610EC479}"/>
              </a:ext>
            </a:extLst>
          </p:cNvPr>
          <p:cNvSpPr txBox="1"/>
          <p:nvPr/>
        </p:nvSpPr>
        <p:spPr>
          <a:xfrm>
            <a:off x="1856729" y="1136664"/>
            <a:ext cx="9239305" cy="50013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650" dirty="0"/>
              <a:t>Oracle Cloud Infrastructure Identity Access Management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968F7C8-F9F2-329A-5601-10D3C79F1858}"/>
              </a:ext>
            </a:extLst>
          </p:cNvPr>
          <p:cNvSpPr txBox="1"/>
          <p:nvPr/>
        </p:nvSpPr>
        <p:spPr>
          <a:xfrm>
            <a:off x="838200" y="1774122"/>
            <a:ext cx="5830957" cy="51001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125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-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Feature Description: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050"/>
              </a:spcBef>
              <a:spcAft>
                <a:spcPts val="105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cle Cloud Infrastructure (OCI) Identity and Access Management (IAM) is a cloud-native, </a:t>
            </a:r>
            <a:r>
              <a:rPr kumimoji="0" lang="en-US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4"/>
              </a:rPr>
              <a:t>IDaaS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4"/>
              </a:rPr>
              <a:t> platform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 that manages user identities, authentication, and authorization for OCI resources, 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5"/>
              </a:rPr>
              <a:t>Oracle SaaS applications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and hybrid environments. It uses identity domains to organize users, supporting 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6"/>
              </a:rPr>
              <a:t>single sign-on (SSO)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 and multi-factor authentication (MFA) to enforce 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7"/>
              </a:rPr>
              <a:t>zero-trust security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50"/>
              </a:spcBef>
              <a:spcAft>
                <a:spcPts val="10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-20" normalizeH="0" baseline="0" noProof="0" dirty="0">
                <a:ln>
                  <a:noFill/>
                </a:ln>
                <a:solidFill>
                  <a:srgbClr val="161513"/>
                </a:solidFill>
                <a:effectLst/>
                <a:uLnTx/>
                <a:uFillTx/>
                <a:latin typeface="Calibri" panose="020F0502020204030204"/>
                <a:ea typeface="Calibri"/>
                <a:cs typeface="Arial"/>
              </a:rPr>
              <a:t>Benefits when Enabled</a:t>
            </a:r>
            <a:r>
              <a:rPr kumimoji="0" lang="en-US" sz="1500" b="0" i="0" u="none" strike="noStrike" kern="1200" cap="none" spc="-20" normalizeH="0" baseline="0" noProof="0" dirty="0">
                <a:ln>
                  <a:noFill/>
                </a:ln>
                <a:solidFill>
                  <a:srgbClr val="161513"/>
                </a:solidFill>
                <a:effectLst/>
                <a:uLnTx/>
                <a:uFillTx/>
                <a:latin typeface="Calibri" panose="020F0502020204030204"/>
                <a:ea typeface="Calibri"/>
                <a:cs typeface="Arial"/>
              </a:rPr>
              <a:t>: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/>
              <a:buChar char="Ø"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1A1816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This feature will force multi-factor even if you don’t use the (already enabled) MFA through Company Single Sign-On.  This release makes it available for configuration to the 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cle Cloud Infrastructure (OCI) Identity and Access Management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/>
              <a:buChar char="Ø"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rrently the state is already using MFA through Company Single Sign-On. The </a:t>
            </a: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pany Single Sign-On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 button is replaced with the Identity Provider (IDP) name at the bottom of the Sign In page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/>
              <a:buChar char="Ø"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1A181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cess Control - 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ses policies to define which groups can access specific resources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/>
              <a:buChar char="Ø"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1A1816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Compartments - 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sed to organize and isolate OCI resources for security. 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1A1816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</p:txBody>
      </p:sp>
      <p:pic>
        <p:nvPicPr>
          <p:cNvPr id="1026" name="Picture 2" descr="Infographic showing overview of Oracle Cloud IAM encryption process with Identities, Permissions, Policies, Compartments, and Resources.">
            <a:extLst>
              <a:ext uri="{FF2B5EF4-FFF2-40B4-BE49-F238E27FC236}">
                <a16:creationId xmlns:a16="http://schemas.microsoft.com/office/drawing/2014/main" id="{5679929C-F513-C804-F4C1-AF2795121A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8081" y="2116564"/>
            <a:ext cx="5519071" cy="36793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6D0CCD3-5D0B-D950-4A68-14CAF6E344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18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3324345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540F0B-E4D3-9576-B08E-A0B905CC90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705D28-1F75-A0BC-BA13-09583F4712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E328B"/>
                </a:solidFill>
                <a:ea typeface="Calibri"/>
                <a:cs typeface="Calibri"/>
              </a:rPr>
              <a:t>OCI IAM Sign In</a:t>
            </a:r>
            <a:endParaRPr lang="en-US" dirty="0">
              <a:solidFill>
                <a:srgbClr val="2E328B"/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533108-CD9F-DEE1-E0A6-1DC1B1633FDB}"/>
              </a:ext>
            </a:extLst>
          </p:cNvPr>
          <p:cNvSpPr txBox="1"/>
          <p:nvPr/>
        </p:nvSpPr>
        <p:spPr>
          <a:xfrm>
            <a:off x="838200" y="1089343"/>
            <a:ext cx="989370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E328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anges in Oracle Fusion Cloud Applications Sign In Page (NCFS)</a:t>
            </a:r>
            <a:endParaRPr lang="en-US" dirty="0">
              <a:solidFill>
                <a:srgbClr val="2E328B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82CE232-13EA-EFA1-6F34-C26121F5F70D}"/>
              </a:ext>
            </a:extLst>
          </p:cNvPr>
          <p:cNvSpPr txBox="1"/>
          <p:nvPr/>
        </p:nvSpPr>
        <p:spPr>
          <a:xfrm>
            <a:off x="1795798" y="1686501"/>
            <a:ext cx="20022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E328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fore upgrade</a:t>
            </a:r>
            <a:endParaRPr lang="en-US" b="1" dirty="0">
              <a:solidFill>
                <a:srgbClr val="2E328B"/>
              </a:solidFill>
            </a:endParaRPr>
          </a:p>
        </p:txBody>
      </p:sp>
      <p:pic>
        <p:nvPicPr>
          <p:cNvPr id="10" name="Picture 9" descr="Old Oracle Applications Cloud sign in screen with brown Company Single Sign-On button.">
            <a:extLst>
              <a:ext uri="{FF2B5EF4-FFF2-40B4-BE49-F238E27FC236}">
                <a16:creationId xmlns:a16="http://schemas.microsoft.com/office/drawing/2014/main" id="{BC709E5C-4540-330B-C3A3-A8D2AE93BE8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7795" y="2112263"/>
            <a:ext cx="3678213" cy="447929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D975C80-43A5-569D-F176-8DAD4D9B2434}"/>
              </a:ext>
            </a:extLst>
          </p:cNvPr>
          <p:cNvSpPr txBox="1"/>
          <p:nvPr/>
        </p:nvSpPr>
        <p:spPr>
          <a:xfrm>
            <a:off x="8320125" y="1660849"/>
            <a:ext cx="16795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E328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fter upgrade</a:t>
            </a:r>
            <a:endParaRPr lang="en-US" b="1" dirty="0">
              <a:solidFill>
                <a:srgbClr val="2E328B"/>
              </a:solidFill>
            </a:endParaRPr>
          </a:p>
        </p:txBody>
      </p:sp>
      <p:pic>
        <p:nvPicPr>
          <p:cNvPr id="6" name="Picture 5" descr="New Oracle Cloud sign in page with red arrow pointing to Oracle Application Cloud Single Sign-on button on the lower left.">
            <a:extLst>
              <a:ext uri="{FF2B5EF4-FFF2-40B4-BE49-F238E27FC236}">
                <a16:creationId xmlns:a16="http://schemas.microsoft.com/office/drawing/2014/main" id="{91ED1A25-B66C-5E13-7EC3-C8F3B275D47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19090" y="2112263"/>
            <a:ext cx="4932229" cy="458114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AFAD1C2-5C50-66BD-9358-99F2BF0F73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524743" y="3317036"/>
            <a:ext cx="246888" cy="125496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7E724E8-B427-AB57-AD22-B2DFC8844B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59880" y="5695397"/>
            <a:ext cx="1364863" cy="295238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012C352-56E9-E1AF-CA24-FE105FD543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0F9E31C-E31D-668E-FF64-A756D27A5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676261" y="4351912"/>
            <a:ext cx="279919" cy="117181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914431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E8EA3CF6-BA14-8A7E-F620-A37BCC3CE2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E328B"/>
                </a:solidFill>
              </a:rPr>
              <a:t>Agend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9D8118E-88B1-5F13-6360-C6255F1FCA00}"/>
              </a:ext>
            </a:extLst>
          </p:cNvPr>
          <p:cNvSpPr txBox="1"/>
          <p:nvPr/>
        </p:nvSpPr>
        <p:spPr>
          <a:xfrm>
            <a:off x="1053565" y="1280828"/>
            <a:ext cx="10543592" cy="50804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7965" marR="0" lvl="0" indent="-227965" algn="l" defTabSz="914377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6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lcome</a:t>
            </a:r>
          </a:p>
          <a:p>
            <a:pPr marL="227965" marR="0" lvl="0" indent="-227965" algn="l" defTabSz="914377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6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CFS Highlights</a:t>
            </a:r>
            <a:endParaRPr kumimoji="0" lang="en-US" sz="26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L="227965" marR="0" lvl="0" indent="-227965" algn="l" defTabSz="914377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6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NCFS Communication Updates</a:t>
            </a:r>
          </a:p>
          <a:p>
            <a:pPr marL="227965" marR="0" lvl="0" indent="-227965" algn="l" defTabSz="914377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6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OSC Training Updates</a:t>
            </a:r>
            <a:endParaRPr kumimoji="0" lang="en-US" sz="26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7965" marR="0" lvl="0" indent="-227965" algn="l" defTabSz="914377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6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Security Updates</a:t>
            </a:r>
          </a:p>
          <a:p>
            <a:pPr marL="227965" marR="0" lvl="0" indent="-227965" algn="l" defTabSz="914377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6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osing</a:t>
            </a:r>
          </a:p>
          <a:p>
            <a:pPr marL="227965" marR="0" lvl="0" indent="-227965" algn="l" defTabSz="914377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6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&amp;A</a:t>
            </a:r>
            <a:endParaRPr kumimoji="0" lang="en-US" sz="26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984349-060F-D228-98FD-7E71A7E0EA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2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4569948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F764A021-18F7-5A66-97C2-10A0556929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E328B"/>
                </a:solidFill>
              </a:rPr>
              <a:t>Closing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BBB265D-C908-5A58-8044-2C18C7CCFB44}"/>
              </a:ext>
            </a:extLst>
          </p:cNvPr>
          <p:cNvSpPr txBox="1"/>
          <p:nvPr/>
        </p:nvSpPr>
        <p:spPr>
          <a:xfrm>
            <a:off x="3447625" y="4251416"/>
            <a:ext cx="4991121" cy="9233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Lena Andrad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NCFS Engagement Lead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70C0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7C7A680-A0A2-46E4-81B4-0523D4BE3DD5}"/>
              </a:ext>
            </a:extLst>
          </p:cNvPr>
          <p:cNvSpPr txBox="1"/>
          <p:nvPr/>
        </p:nvSpPr>
        <p:spPr>
          <a:xfrm>
            <a:off x="2532081" y="5225273"/>
            <a:ext cx="6993082" cy="1332358"/>
          </a:xfrm>
          <a:prstGeom prst="rect">
            <a:avLst/>
          </a:prstGeom>
          <a:noFill/>
        </p:spPr>
        <p:txBody>
          <a:bodyPr wrap="square" lIns="91440" tIns="45720" rIns="91440" bIns="45720" anchor="t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North Carolina Financial Syste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NC Office of the State Controller - OSC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090EF30-4BD5-4989-8BBA-7A2EC017A6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1864445" y="5035225"/>
            <a:ext cx="8766928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F2CE900B-A071-207B-6394-442FF8D02B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47782" y="132791"/>
            <a:ext cx="2007158" cy="87397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7953733-06EA-A759-C0CE-F69B48B6F1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59873" y="5841206"/>
            <a:ext cx="1943100" cy="84772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8B2B9AA-2ACD-966A-A871-E789210A68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36" b="4536"/>
          <a:stretch/>
        </p:blipFill>
        <p:spPr>
          <a:xfrm>
            <a:off x="4830479" y="1796878"/>
            <a:ext cx="2225414" cy="229428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BEC7AD-B2A6-4E9D-84AD-F786F31F3E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5155C8-06EF-4D76-B723-5863044CF28B}" type="slidenum">
              <a:rPr kumimoji="0" lang="en-US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4191770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A6A8D9-CF97-0199-A2AD-98A5BEE40D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3D4C9B-FEA2-D3AD-5698-991F49AB14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E328B"/>
                </a:solidFill>
                <a:ea typeface="Calibri"/>
                <a:cs typeface="Calibri"/>
              </a:rPr>
              <a:t>What's Next?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09CE8E7-3E39-AAE0-C6B3-65BDB42D7A6A}"/>
              </a:ext>
            </a:extLst>
          </p:cNvPr>
          <p:cNvSpPr txBox="1"/>
          <p:nvPr/>
        </p:nvSpPr>
        <p:spPr>
          <a:xfrm>
            <a:off x="1035325" y="1685777"/>
            <a:ext cx="10360430" cy="457817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1450" lvl="1"/>
            <a:r>
              <a:rPr lang="en-US" sz="2650"/>
              <a:t>Next NCFS Insights Session: </a:t>
            </a:r>
            <a:r>
              <a:rPr lang="en-US" sz="2650">
                <a:hlinkClick r:id="rId4"/>
              </a:rPr>
              <a:t>March 4th</a:t>
            </a:r>
            <a:r>
              <a:rPr lang="en-US" sz="2650"/>
              <a:t> at 1pm </a:t>
            </a:r>
            <a:endParaRPr lang="en-US">
              <a:ea typeface="Calibri" panose="020F0502020204030204"/>
              <a:cs typeface="Calibri" panose="020F0502020204030204"/>
            </a:endParaRPr>
          </a:p>
          <a:p>
            <a:pPr marL="628650" lvl="1" indent="-457200">
              <a:buFont typeface="Arial"/>
              <a:buChar char="•"/>
            </a:pPr>
            <a:endParaRPr lang="en-US" sz="2650">
              <a:hlinkClick r:id="rId5"/>
            </a:endParaRPr>
          </a:p>
          <a:p>
            <a:pPr marL="628650" lvl="1" indent="-457200">
              <a:buFont typeface="Arial"/>
              <a:buChar char="•"/>
            </a:pPr>
            <a:r>
              <a:rPr lang="en-US" sz="2650"/>
              <a:t>Upcoming NCFS Information Sessions</a:t>
            </a:r>
          </a:p>
          <a:p>
            <a:pPr marL="1085850" lvl="2" indent="-457200">
              <a:buFont typeface="Arial"/>
              <a:buChar char="•"/>
            </a:pPr>
            <a:r>
              <a:rPr lang="en-US" sz="2650">
                <a:hlinkClick r:id="rId6"/>
              </a:rPr>
              <a:t>FA Session: Feb 4th at 2pm</a:t>
            </a:r>
            <a:endParaRPr lang="en-US" sz="2650"/>
          </a:p>
          <a:p>
            <a:pPr marL="1085850" lvl="2" indent="-457200">
              <a:buFont typeface="Arial"/>
              <a:buChar char="•"/>
            </a:pPr>
            <a:r>
              <a:rPr lang="en-US" sz="2650">
                <a:hlinkClick r:id="rId7"/>
              </a:rPr>
              <a:t>1099 Session: Feb 10</a:t>
            </a:r>
            <a:r>
              <a:rPr lang="en-US" sz="2650" baseline="30000">
                <a:hlinkClick r:id="rId7"/>
              </a:rPr>
              <a:t>th</a:t>
            </a:r>
            <a:r>
              <a:rPr lang="en-US" sz="2650">
                <a:hlinkClick r:id="rId7"/>
              </a:rPr>
              <a:t> at 11am</a:t>
            </a:r>
            <a:endParaRPr lang="en-US" sz="2650"/>
          </a:p>
          <a:p>
            <a:pPr marL="1085850" lvl="2" indent="-457200">
              <a:buFont typeface="Arial"/>
              <a:buChar char="•"/>
            </a:pPr>
            <a:endParaRPr lang="en-US" sz="2650"/>
          </a:p>
          <a:p>
            <a:pPr marL="628650" lvl="1" indent="-457200">
              <a:buFont typeface="Arial"/>
              <a:buChar char="•"/>
            </a:pPr>
            <a:r>
              <a:rPr lang="en-US" sz="2650"/>
              <a:t>NCFS Touchpoints</a:t>
            </a:r>
          </a:p>
          <a:p>
            <a:pPr marL="1085850" lvl="2" indent="-457200">
              <a:buFont typeface="Arial"/>
              <a:buChar char="•"/>
            </a:pPr>
            <a:endParaRPr lang="en-US" sz="2650"/>
          </a:p>
          <a:p>
            <a:pPr marL="628650" lvl="2"/>
            <a:endParaRPr lang="en-US" sz="2650"/>
          </a:p>
          <a:p>
            <a:endParaRPr lang="en-US" sz="2650" i="1"/>
          </a:p>
          <a:p>
            <a:endParaRPr lang="en-US" sz="265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3D91CF-BF08-8332-1B8C-F44DE84E32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21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2071318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A161C598-D4BE-87FE-A720-17104DA24F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312349" cy="634219"/>
          </a:xfrm>
        </p:spPr>
        <p:txBody>
          <a:bodyPr/>
          <a:lstStyle/>
          <a:p>
            <a:r>
              <a:rPr lang="en-US"/>
              <a:t>March NCFS Activiti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B6F7A91-CA9D-B154-1B39-A6880F480D90}"/>
              </a:ext>
            </a:extLst>
          </p:cNvPr>
          <p:cNvSpPr txBox="1"/>
          <p:nvPr/>
        </p:nvSpPr>
        <p:spPr>
          <a:xfrm>
            <a:off x="838200" y="1086189"/>
            <a:ext cx="277210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>
                <a:effectLst/>
                <a:latin typeface="Calibri" panose="020F0502020204030204" pitchFamily="34" charset="0"/>
                <a:ea typeface="Aptos" panose="020B0004020202020204" pitchFamily="34" charset="0"/>
                <a:hlinkClick r:id="rId3"/>
              </a:rPr>
              <a:t>March Functional Calendar</a:t>
            </a:r>
            <a:endParaRPr lang="en-US"/>
          </a:p>
        </p:txBody>
      </p:sp>
      <p:pic>
        <p:nvPicPr>
          <p:cNvPr id="5" name="Picture 4" descr="March 2026 Functional Calendar shows events such as the NCFS Insights meeting and important reminders, dates, and deadlines for NCFS processes.">
            <a:extLst>
              <a:ext uri="{FF2B5EF4-FFF2-40B4-BE49-F238E27FC236}">
                <a16:creationId xmlns:a16="http://schemas.microsoft.com/office/drawing/2014/main" id="{0D7664CF-06F6-2ADE-051C-3A90ECA62DF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10307" y="1152746"/>
            <a:ext cx="6688451" cy="5451087"/>
          </a:xfrm>
          <a:prstGeom prst="rect">
            <a:avLst/>
          </a:prstGeom>
          <a:noFill/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F84291D-3909-C34C-6F6D-59FE02B805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205155C8-06EF-4D76-B723-5863044CF28B}" type="slidenum">
              <a:rPr lang="en-US" smtClean="0"/>
              <a:pPr>
                <a:spcAft>
                  <a:spcPts val="600"/>
                </a:spcAft>
              </a:pPr>
              <a:t>22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2013571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8C0E61-8BAC-2A5A-C8C6-75A0D03216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58984D-9E09-1C52-F743-3B26AA2131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E328B"/>
                </a:solidFill>
                <a:ea typeface="Calibri"/>
                <a:cs typeface="Calibri"/>
              </a:rPr>
              <a:t>Q&amp;A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B3F0A91-2B89-FF81-6E67-4240BC1CF794}"/>
              </a:ext>
            </a:extLst>
          </p:cNvPr>
          <p:cNvSpPr txBox="1"/>
          <p:nvPr/>
        </p:nvSpPr>
        <p:spPr>
          <a:xfrm>
            <a:off x="3796003" y="4751970"/>
            <a:ext cx="4599993" cy="160935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200000"/>
              </a:lnSpc>
            </a:pPr>
            <a:r>
              <a:rPr lang="en-US" sz="2650" dirty="0">
                <a:hlinkClick r:id="rId4"/>
              </a:rPr>
              <a:t>Give us your feedback!</a:t>
            </a:r>
            <a:endParaRPr lang="en-US" sz="2650" dirty="0"/>
          </a:p>
          <a:p>
            <a:pPr algn="ctr">
              <a:lnSpc>
                <a:spcPct val="200000"/>
              </a:lnSpc>
            </a:pPr>
            <a:r>
              <a:rPr lang="en-US" sz="2650" dirty="0"/>
              <a:t>Contact us: </a:t>
            </a:r>
            <a:r>
              <a:rPr lang="en-US" sz="2650" dirty="0">
                <a:hlinkClick r:id="rId5"/>
              </a:rPr>
              <a:t>ncfs@ncosc.gov</a:t>
            </a:r>
            <a:endParaRPr lang="en-US" sz="2650" dirty="0">
              <a:ea typeface="Calibri"/>
              <a:cs typeface="Calibri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11F65FA-1861-16F0-4103-54324B032C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19010" y="1686790"/>
            <a:ext cx="2153980" cy="2736273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A072AB2-1A14-3DB0-318D-3BFE33DAC8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23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2551636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C7FA7E6-9A06-DBE3-3B38-373D42DC40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974323" cy="634219"/>
          </a:xfrm>
        </p:spPr>
        <p:txBody>
          <a:bodyPr anchor="ctr">
            <a:normAutofit/>
          </a:bodyPr>
          <a:lstStyle/>
          <a:p>
            <a:r>
              <a:rPr lang="en-US" sz="3700" dirty="0">
                <a:solidFill>
                  <a:srgbClr val="2E328B"/>
                </a:solidFill>
              </a:rPr>
              <a:t>Communications Icebreaker Results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CFD3705C-8E73-AEB2-74F0-9A609408CB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0980407"/>
              </p:ext>
            </p:extLst>
          </p:nvPr>
        </p:nvGraphicFramePr>
        <p:xfrm>
          <a:off x="625250" y="2792361"/>
          <a:ext cx="6542466" cy="3480617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2180822">
                  <a:extLst>
                    <a:ext uri="{9D8B030D-6E8A-4147-A177-3AD203B41FA5}">
                      <a16:colId xmlns:a16="http://schemas.microsoft.com/office/drawing/2014/main" val="2831706341"/>
                    </a:ext>
                  </a:extLst>
                </a:gridCol>
                <a:gridCol w="2180822">
                  <a:extLst>
                    <a:ext uri="{9D8B030D-6E8A-4147-A177-3AD203B41FA5}">
                      <a16:colId xmlns:a16="http://schemas.microsoft.com/office/drawing/2014/main" val="2211313565"/>
                    </a:ext>
                  </a:extLst>
                </a:gridCol>
                <a:gridCol w="2180822">
                  <a:extLst>
                    <a:ext uri="{9D8B030D-6E8A-4147-A177-3AD203B41FA5}">
                      <a16:colId xmlns:a16="http://schemas.microsoft.com/office/drawing/2014/main" val="2325292744"/>
                    </a:ext>
                  </a:extLst>
                </a:gridCol>
              </a:tblGrid>
              <a:tr h="497231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Metho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ercent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espons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85247134"/>
                  </a:ext>
                </a:extLst>
              </a:tr>
              <a:tr h="497231">
                <a:tc>
                  <a:txBody>
                    <a:bodyPr/>
                    <a:lstStyle/>
                    <a:p>
                      <a:r>
                        <a:rPr lang="en-US" dirty="0"/>
                        <a:t>Emai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52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04762531"/>
                  </a:ext>
                </a:extLst>
              </a:tr>
              <a:tr h="497231">
                <a:tc>
                  <a:txBody>
                    <a:bodyPr/>
                    <a:lstStyle/>
                    <a:p>
                      <a:r>
                        <a:rPr lang="en-US" dirty="0"/>
                        <a:t>Team Meeting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8812132"/>
                  </a:ext>
                </a:extLst>
              </a:tr>
              <a:tr h="497231">
                <a:tc>
                  <a:txBody>
                    <a:bodyPr/>
                    <a:lstStyle/>
                    <a:p>
                      <a:r>
                        <a:rPr lang="en-US" dirty="0"/>
                        <a:t>1 on 1 with Staf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54781528"/>
                  </a:ext>
                </a:extLst>
              </a:tr>
              <a:tr h="497231">
                <a:tc>
                  <a:txBody>
                    <a:bodyPr/>
                    <a:lstStyle/>
                    <a:p>
                      <a:r>
                        <a:rPr lang="en-US" dirty="0"/>
                        <a:t>OSC Websi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7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0417426"/>
                  </a:ext>
                </a:extLst>
              </a:tr>
              <a:tr h="497231">
                <a:tc>
                  <a:txBody>
                    <a:bodyPr/>
                    <a:lstStyle/>
                    <a:p>
                      <a:r>
                        <a:rPr lang="en-US" dirty="0"/>
                        <a:t>Agency Newslet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98131988"/>
                  </a:ext>
                </a:extLst>
              </a:tr>
              <a:tr h="497231">
                <a:tc>
                  <a:txBody>
                    <a:bodyPr/>
                    <a:lstStyle/>
                    <a:p>
                      <a:r>
                        <a:rPr lang="en-US" dirty="0"/>
                        <a:t>Don’t sha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51462850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C7C801-8596-D43F-784E-DC368E64E0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205155C8-06EF-4D76-B723-5863044CF28B}" type="slidenum">
              <a:rPr lang="en-US" smtClean="0"/>
              <a:pPr>
                <a:spcAft>
                  <a:spcPts val="600"/>
                </a:spcAft>
              </a:pPr>
              <a:t>24</a:t>
            </a:fld>
            <a:endParaRPr lang="en-US"/>
          </a:p>
        </p:txBody>
      </p:sp>
      <p:pic>
        <p:nvPicPr>
          <p:cNvPr id="2" name="Picture 1" descr="Chart visualization of the same data shown in the table with Emails being the most frequently used communication method.">
            <a:extLst>
              <a:ext uri="{FF2B5EF4-FFF2-40B4-BE49-F238E27FC236}">
                <a16:creationId xmlns:a16="http://schemas.microsoft.com/office/drawing/2014/main" id="{78026C74-14E5-27E2-3C84-B31820CF65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64178" y="1190437"/>
            <a:ext cx="4820509" cy="320458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7861319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81D6E5-0660-BBA1-1BBD-D918CC887D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E1545830-FCA0-2867-1D47-911AB32ECF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974323" cy="634219"/>
          </a:xfrm>
        </p:spPr>
        <p:txBody>
          <a:bodyPr anchor="ctr">
            <a:normAutofit/>
          </a:bodyPr>
          <a:lstStyle/>
          <a:p>
            <a:r>
              <a:rPr lang="en-US" sz="3700" dirty="0">
                <a:solidFill>
                  <a:srgbClr val="2E328B"/>
                </a:solidFill>
              </a:rPr>
              <a:t>Communications Satisfaction Results</a:t>
            </a:r>
          </a:p>
        </p:txBody>
      </p:sp>
      <p:pic>
        <p:nvPicPr>
          <p:cNvPr id="2" name="Picture 1" descr="Graph of Satisfaction results explained on next slide.">
            <a:extLst>
              <a:ext uri="{FF2B5EF4-FFF2-40B4-BE49-F238E27FC236}">
                <a16:creationId xmlns:a16="http://schemas.microsoft.com/office/drawing/2014/main" id="{17EA51C1-53B0-C276-3148-E125641CEA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14705" y="1792788"/>
            <a:ext cx="7353822" cy="4410206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E3B9E1-789E-00F2-7878-D3CE3AE9AF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205155C8-06EF-4D76-B723-5863044CF28B}" type="slidenum">
              <a:rPr lang="en-US" smtClean="0"/>
              <a:pPr>
                <a:spcAft>
                  <a:spcPts val="600"/>
                </a:spcAft>
              </a:pPr>
              <a:t>25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1910341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B2B21C-EC1D-61E0-51CF-8745028838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4B940038-C8C6-331A-B926-D2C5E2E73E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974323" cy="634219"/>
          </a:xfrm>
        </p:spPr>
        <p:txBody>
          <a:bodyPr anchor="ctr">
            <a:normAutofit/>
          </a:bodyPr>
          <a:lstStyle/>
          <a:p>
            <a:r>
              <a:rPr lang="en-US" sz="3700" dirty="0">
                <a:solidFill>
                  <a:srgbClr val="2E328B"/>
                </a:solidFill>
              </a:rPr>
              <a:t>Communications Polling Detail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F659B36-CD04-AB78-0375-5BE035BAFE8E}"/>
              </a:ext>
            </a:extLst>
          </p:cNvPr>
          <p:cNvSpPr txBox="1"/>
          <p:nvPr/>
        </p:nvSpPr>
        <p:spPr>
          <a:xfrm>
            <a:off x="1236945" y="1197279"/>
            <a:ext cx="10185746" cy="517064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 dirty="0"/>
              <a:t>Survey Summary (12 Responses)</a:t>
            </a:r>
            <a:endParaRPr lang="en-US" sz="2400" b="1" dirty="0">
              <a:ea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r>
              <a:rPr lang="en-US" sz="2400" dirty="0"/>
              <a:t>Overall Satisfaction Average: 4.83 / 5.0</a:t>
            </a:r>
            <a:endParaRPr lang="en-US" sz="2400" dirty="0">
              <a:ea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r>
              <a:rPr lang="en-US" sz="2400" dirty="0"/>
              <a:t>Meeting Expectations Average: 4.75 / 5.0</a:t>
            </a:r>
            <a:endParaRPr lang="en-US" sz="2400" dirty="0">
              <a:ea typeface="Calibri"/>
              <a:cs typeface="Calibri"/>
            </a:endParaRPr>
          </a:p>
          <a:p>
            <a:endParaRPr lang="en-US" sz="2400" dirty="0">
              <a:ea typeface="Calibri"/>
              <a:cs typeface="Calibri"/>
            </a:endParaRPr>
          </a:p>
          <a:p>
            <a:r>
              <a:rPr lang="en-US" sz="2400" b="1" dirty="0"/>
              <a:t>Key Takeaways</a:t>
            </a:r>
            <a:endParaRPr lang="en-US" sz="2400" b="1" dirty="0">
              <a:ea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r>
              <a:rPr lang="en-US" sz="2400" b="1" dirty="0"/>
              <a:t>Satisfaction:</a:t>
            </a:r>
            <a:r>
              <a:rPr lang="en-US" sz="2400" dirty="0"/>
              <a:t> The vast majority (83%) of participants rated their satisfaction as a "Level 5."</a:t>
            </a:r>
            <a:endParaRPr lang="en-US" sz="2400" dirty="0">
              <a:ea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r>
              <a:rPr lang="en-US" sz="2400" b="1" dirty="0"/>
              <a:t>Meeting Expectations:</a:t>
            </a:r>
            <a:r>
              <a:rPr lang="en-US" sz="2400" dirty="0"/>
              <a:t> 75% of participants felt the content fully met their expectations (Level 5), with the remaining 25% rating it a "Level 4."</a:t>
            </a:r>
            <a:endParaRPr lang="en-US" sz="2400" dirty="0">
              <a:ea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r>
              <a:rPr lang="en-US" sz="2400" b="1" dirty="0"/>
              <a:t>Positive Feedback:</a:t>
            </a:r>
            <a:r>
              <a:rPr lang="en-US" sz="2400" dirty="0"/>
              <a:t> Participants highlighted the "great information" and found it helpful to learn about login changes and system updates.</a:t>
            </a:r>
            <a:endParaRPr lang="en-US" sz="2400" dirty="0">
              <a:ea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r>
              <a:rPr lang="en-US" sz="2400" b="1" dirty="0"/>
              <a:t>Future Topics:</a:t>
            </a:r>
            <a:r>
              <a:rPr lang="en-US" sz="2400" dirty="0"/>
              <a:t> Requests for future sessions include topics like FRS ACFR Reports, Analyst Reports, and Year-End/ACFR Analysis.</a:t>
            </a:r>
            <a:endParaRPr lang="en-US" sz="2400" dirty="0">
              <a:ea typeface="Calibri"/>
              <a:cs typeface="Calibri"/>
            </a:endParaRPr>
          </a:p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FFE984-D023-CDC5-8B59-A099BE5A00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205155C8-06EF-4D76-B723-5863044CF28B}" type="slidenum">
              <a:rPr lang="en-US" smtClean="0"/>
              <a:pPr>
                <a:spcAft>
                  <a:spcPts val="600"/>
                </a:spcAft>
              </a:pPr>
              <a:t>26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7149750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2A80DB-3D8C-AB6D-8A1F-E646AE0AC1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E514AFAA-00BA-7973-B017-06E77EE3DF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974323" cy="634219"/>
          </a:xfrm>
        </p:spPr>
        <p:txBody>
          <a:bodyPr anchor="ctr">
            <a:normAutofit/>
          </a:bodyPr>
          <a:lstStyle/>
          <a:p>
            <a:r>
              <a:rPr lang="en-US" sz="3700" dirty="0">
                <a:solidFill>
                  <a:srgbClr val="2E328B"/>
                </a:solidFill>
              </a:rPr>
              <a:t>Communications Polling Feedback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0CB5D26-BBB3-ADEF-452D-6887014E0DA2}"/>
              </a:ext>
            </a:extLst>
          </p:cNvPr>
          <p:cNvSpPr txBox="1"/>
          <p:nvPr/>
        </p:nvSpPr>
        <p:spPr>
          <a:xfrm>
            <a:off x="991644" y="1174315"/>
            <a:ext cx="10824575" cy="557075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 b="1" dirty="0"/>
              <a:t>1. What participants liked most</a:t>
            </a:r>
            <a:endParaRPr lang="en-US" sz="2000" b="1" dirty="0">
              <a:ea typeface="Calibri"/>
              <a:cs typeface="Calibri"/>
            </a:endParaRPr>
          </a:p>
          <a:p>
            <a:r>
              <a:rPr lang="en-US" sz="2000" dirty="0"/>
              <a:t>The feedback was overwhelmingly positive, focusing on transparency and practical resources.</a:t>
            </a:r>
            <a:endParaRPr lang="en-US" sz="2000" dirty="0">
              <a:ea typeface="Calibri"/>
              <a:cs typeface="Calibri"/>
            </a:endParaRPr>
          </a:p>
          <a:p>
            <a:pPr marL="228600" indent="-228600">
              <a:buFont typeface=""/>
              <a:buChar char="•"/>
            </a:pPr>
            <a:r>
              <a:rPr lang="en-US" sz="2000" dirty="0"/>
              <a:t>System Updates: Participants valued hearing about upcoming changes, the new login process, and the timeline for system updates.</a:t>
            </a:r>
            <a:endParaRPr lang="en-US" sz="2000" dirty="0">
              <a:ea typeface="Calibri"/>
              <a:cs typeface="Calibri"/>
            </a:endParaRPr>
          </a:p>
          <a:p>
            <a:pPr marL="228600" indent="-228600">
              <a:buFont typeface=""/>
              <a:buChar char="•"/>
            </a:pPr>
            <a:r>
              <a:rPr lang="en-US" sz="2000" dirty="0"/>
              <a:t>Resources: Multiple users highlighted the usefulness of the Quick Reference Guides (QRGs), the website resources, and the new calendar feature.</a:t>
            </a:r>
            <a:endParaRPr lang="en-US" sz="2000" dirty="0">
              <a:ea typeface="Calibri"/>
              <a:cs typeface="Calibri"/>
            </a:endParaRPr>
          </a:p>
          <a:p>
            <a:pPr marL="228600" indent="-228600">
              <a:buFont typeface=""/>
              <a:buChar char="•"/>
            </a:pPr>
            <a:r>
              <a:rPr lang="en-US" sz="2000" dirty="0"/>
              <a:t>Engagement: Attendees appreciated "hearing from different people" and the opportunity to interact with the OSC Team.</a:t>
            </a:r>
            <a:endParaRPr lang="en-US" sz="2000" dirty="0">
              <a:ea typeface="Calibri"/>
              <a:cs typeface="Calibri"/>
            </a:endParaRPr>
          </a:p>
          <a:p>
            <a:pPr marL="228600" indent="-228600">
              <a:buFont typeface=""/>
              <a:buChar char="•"/>
            </a:pPr>
            <a:r>
              <a:rPr lang="en-US" sz="2000" dirty="0"/>
              <a:t>Accessibility: Users mentioned that seeing where things are located within NCFS made for "easier access".</a:t>
            </a:r>
            <a:endParaRPr lang="en-US" sz="2000" dirty="0">
              <a:ea typeface="Calibri"/>
              <a:cs typeface="Calibri"/>
            </a:endParaRPr>
          </a:p>
          <a:p>
            <a:r>
              <a:rPr lang="en-US" sz="2000" b="1" dirty="0"/>
              <a:t>2. Topics for future sessions</a:t>
            </a:r>
            <a:endParaRPr lang="en-US" sz="2000" b="1" dirty="0">
              <a:ea typeface="Calibri"/>
              <a:cs typeface="Calibri"/>
            </a:endParaRPr>
          </a:p>
          <a:p>
            <a:r>
              <a:rPr lang="en-US" sz="2000" dirty="0"/>
              <a:t>While some newer users are happy with any training provided, others have requested deep dives into reporting:</a:t>
            </a:r>
            <a:endParaRPr lang="en-US" sz="2000" dirty="0">
              <a:ea typeface="Calibri"/>
              <a:cs typeface="Calibri"/>
            </a:endParaRPr>
          </a:p>
          <a:p>
            <a:pPr marL="228600" indent="-228600">
              <a:buFont typeface=""/>
              <a:buChar char="•"/>
            </a:pPr>
            <a:r>
              <a:rPr lang="en-US" sz="2000" dirty="0"/>
              <a:t>Financial Reporting: Specific interest in FRS ACFR Reports, Analyst Reports, and Due to/Due From Report Analysis for Year-End.</a:t>
            </a:r>
            <a:endParaRPr lang="en-US" sz="2000" dirty="0">
              <a:ea typeface="Calibri"/>
              <a:cs typeface="Calibri"/>
            </a:endParaRPr>
          </a:p>
          <a:p>
            <a:pPr marL="228600" indent="-228600">
              <a:buFont typeface=""/>
              <a:buChar char="•"/>
            </a:pPr>
            <a:r>
              <a:rPr lang="en-US" sz="2000" dirty="0"/>
              <a:t>System Access: A request to review user access procedures.</a:t>
            </a:r>
            <a:endParaRPr lang="en-US" sz="2000" dirty="0">
              <a:ea typeface="Calibri"/>
              <a:cs typeface="Calibri"/>
            </a:endParaRPr>
          </a:p>
          <a:p>
            <a:pPr marL="228600" indent="-228600">
              <a:buFont typeface=""/>
              <a:buChar char="•"/>
            </a:pPr>
            <a:r>
              <a:rPr lang="en-US" sz="2000" dirty="0"/>
              <a:t>1099 Processing: Interest in more detail regarding the upcoming 1099 sessions.</a:t>
            </a:r>
            <a:endParaRPr lang="en-US" sz="2000" dirty="0">
              <a:ea typeface="Calibri"/>
              <a:cs typeface="Calibri"/>
            </a:endParaRPr>
          </a:p>
          <a:p>
            <a:endParaRPr lang="en-US" sz="1600" dirty="0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CEF015-484D-8D4A-8F55-DFA7AE2955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205155C8-06EF-4D76-B723-5863044CF28B}" type="slidenum">
              <a:rPr lang="en-US" smtClean="0"/>
              <a:pPr>
                <a:spcAft>
                  <a:spcPts val="600"/>
                </a:spcAft>
              </a:pPr>
              <a:t>27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5664276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509FB7-7740-24F1-136A-AFD2F0176B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DDD22E0C-DAD6-4F2E-D237-EEEA2B1134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974323" cy="634219"/>
          </a:xfrm>
        </p:spPr>
        <p:txBody>
          <a:bodyPr anchor="ctr">
            <a:normAutofit/>
          </a:bodyPr>
          <a:lstStyle/>
          <a:p>
            <a:r>
              <a:rPr lang="en-US" sz="3700" dirty="0">
                <a:solidFill>
                  <a:srgbClr val="2E328B"/>
                </a:solidFill>
              </a:rPr>
              <a:t>Communications Polling Contacts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279CA5D0-0685-2DA6-2F62-C326884F83A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9783701"/>
              </p:ext>
            </p:extLst>
          </p:nvPr>
        </p:nvGraphicFramePr>
        <p:xfrm>
          <a:off x="1221287" y="1878903"/>
          <a:ext cx="9163683" cy="1550168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3054561">
                  <a:extLst>
                    <a:ext uri="{9D8B030D-6E8A-4147-A177-3AD203B41FA5}">
                      <a16:colId xmlns:a16="http://schemas.microsoft.com/office/drawing/2014/main" val="940090551"/>
                    </a:ext>
                  </a:extLst>
                </a:gridCol>
                <a:gridCol w="3054561">
                  <a:extLst>
                    <a:ext uri="{9D8B030D-6E8A-4147-A177-3AD203B41FA5}">
                      <a16:colId xmlns:a16="http://schemas.microsoft.com/office/drawing/2014/main" val="3199995513"/>
                    </a:ext>
                  </a:extLst>
                </a:gridCol>
                <a:gridCol w="3054561">
                  <a:extLst>
                    <a:ext uri="{9D8B030D-6E8A-4147-A177-3AD203B41FA5}">
                      <a16:colId xmlns:a16="http://schemas.microsoft.com/office/drawing/2014/main" val="791554865"/>
                    </a:ext>
                  </a:extLst>
                </a:gridCol>
              </a:tblGrid>
              <a:tr h="38754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b="1" dirty="0">
                          <a:effectLst/>
                        </a:rPr>
                        <a:t>Name</a:t>
                      </a:r>
                      <a:endParaRPr lang="en-US" dirty="0">
                        <a:effectLst/>
                        <a:latin typeface="Google Sans Tex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b="1" dirty="0">
                          <a:effectLst/>
                        </a:rPr>
                        <a:t>Organization</a:t>
                      </a:r>
                      <a:endParaRPr lang="en-US" dirty="0">
                        <a:effectLst/>
                        <a:latin typeface="Google Sans Tex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b="1" dirty="0">
                          <a:effectLst/>
                        </a:rPr>
                        <a:t>Email Address</a:t>
                      </a:r>
                      <a:endParaRPr lang="en-US" dirty="0">
                        <a:effectLst/>
                        <a:latin typeface="Google Sans Tex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04793018"/>
                  </a:ext>
                </a:extLst>
              </a:tr>
              <a:tr h="38754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b="1" dirty="0">
                          <a:effectLst/>
                        </a:rPr>
                        <a:t>Heide Rumble</a:t>
                      </a:r>
                      <a:endParaRPr lang="en-US" dirty="0">
                        <a:effectLst/>
                        <a:latin typeface="Google Sans Tex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b="1" dirty="0">
                          <a:effectLst/>
                        </a:rPr>
                        <a:t>NC Courts</a:t>
                      </a:r>
                      <a:endParaRPr lang="en-US" dirty="0">
                        <a:effectLst/>
                        <a:latin typeface="Google Sans Tex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dirty="0">
                          <a:effectLst/>
                          <a:hlinkClick r:id="rId3"/>
                        </a:rPr>
                        <a:t>heide.w.rumble@nccourts.org</a:t>
                      </a:r>
                      <a:endParaRPr lang="en-US" dirty="0">
                        <a:effectLst/>
                        <a:latin typeface="Google Sans Tex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07260460"/>
                  </a:ext>
                </a:extLst>
              </a:tr>
              <a:tr h="38754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b="1" dirty="0">
                          <a:effectLst/>
                        </a:rPr>
                        <a:t>Brice J.</a:t>
                      </a:r>
                      <a:endParaRPr lang="en-US" dirty="0">
                        <a:effectLst/>
                        <a:latin typeface="Google Sans Tex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b="1" dirty="0">
                          <a:effectLst/>
                        </a:rPr>
                        <a:t>WSSU</a:t>
                      </a:r>
                      <a:endParaRPr lang="en-US" dirty="0">
                        <a:effectLst/>
                        <a:latin typeface="Google Sans Tex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dirty="0">
                          <a:effectLst/>
                          <a:hlinkClick r:id="rId4"/>
                        </a:rPr>
                        <a:t>bricej@wssu.edu</a:t>
                      </a:r>
                      <a:endParaRPr lang="en-US" dirty="0">
                        <a:effectLst/>
                        <a:latin typeface="Google Sans Tex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21316983"/>
                  </a:ext>
                </a:extLst>
              </a:tr>
              <a:tr h="38754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b="1" dirty="0">
                          <a:effectLst/>
                        </a:rPr>
                        <a:t>Elizabeth Lane</a:t>
                      </a:r>
                      <a:endParaRPr lang="en-US" dirty="0">
                        <a:effectLst/>
                        <a:latin typeface="Google Sans Tex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b="1" dirty="0">
                          <a:effectLst/>
                        </a:rPr>
                        <a:t>OSC</a:t>
                      </a:r>
                      <a:endParaRPr lang="en-US" dirty="0">
                        <a:effectLst/>
                        <a:latin typeface="Google Sans Tex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dirty="0">
                          <a:effectLst/>
                          <a:hlinkClick r:id="rId5"/>
                        </a:rPr>
                        <a:t>elizabeth.lane@ncosc.gov</a:t>
                      </a:r>
                      <a:endParaRPr lang="en-US" dirty="0">
                        <a:effectLst/>
                        <a:latin typeface="Google Sans Tex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66029957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73DDDD-C19C-7CEC-FCB4-6536E03579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205155C8-06EF-4D76-B723-5863044CF28B}" type="slidenum">
              <a:rPr lang="en-US" smtClean="0"/>
              <a:pPr>
                <a:spcAft>
                  <a:spcPts val="600"/>
                </a:spcAft>
              </a:pPr>
              <a:t>28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792394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B2A745E3-9BC7-B091-0D6D-EA3A934E5F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E328B"/>
                </a:solidFill>
              </a:rPr>
              <a:t>Welcom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3442988-53F0-37E5-E223-34C06CCE56FC}"/>
              </a:ext>
            </a:extLst>
          </p:cNvPr>
          <p:cNvSpPr txBox="1"/>
          <p:nvPr/>
        </p:nvSpPr>
        <p:spPr>
          <a:xfrm>
            <a:off x="838200" y="1255777"/>
            <a:ext cx="5181600" cy="4584192"/>
          </a:xfrm>
          <a:prstGeom prst="rect">
            <a:avLst/>
          </a:prstGeom>
        </p:spPr>
        <p:txBody>
          <a:bodyPr rot="0" spcFirstLastPara="0" vertOverflow="overflow" horzOverflow="overflow" vert="horz" lIns="91440" tIns="45720" rIns="91440" bIns="45720" numCol="1" spcCol="0" rtlCol="0" fromWordArt="0" anchorCtr="0" forceAA="0" compatLnSpc="1">
            <a:prstTxWarp prst="textNoShape">
              <a:avLst/>
            </a:prstTxWarp>
            <a:normAutofit/>
          </a:bodyPr>
          <a:lstStyle/>
          <a:p>
            <a:pPr marL="228594" indent="-228594" defTabSz="914377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</a:pPr>
            <a:r>
              <a:rPr lang="en-US" sz="2667" dirty="0"/>
              <a:t>Housekeeping </a:t>
            </a:r>
          </a:p>
          <a:p>
            <a:pPr marL="228594" indent="-228594" defTabSz="914377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</a:pPr>
            <a:r>
              <a:rPr lang="en-US" sz="2667" dirty="0"/>
              <a:t>Introductions</a:t>
            </a:r>
          </a:p>
          <a:p>
            <a:pPr defTabSz="914377">
              <a:lnSpc>
                <a:spcPct val="90000"/>
              </a:lnSpc>
              <a:spcBef>
                <a:spcPts val="1000"/>
              </a:spcBef>
            </a:pPr>
            <a:endParaRPr lang="en-US" sz="2667" dirty="0"/>
          </a:p>
          <a:p>
            <a:pPr marL="228594" indent="-228594" defTabSz="914377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</a:pPr>
            <a:endParaRPr lang="en-US" sz="2667" dirty="0"/>
          </a:p>
          <a:p>
            <a:pPr marL="228594" indent="-228594" defTabSz="914377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</a:pPr>
            <a:endParaRPr lang="en-US" sz="2667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26A0B30-A581-349A-8B40-94FA8B0BE4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9800" y="2310766"/>
            <a:ext cx="5181600" cy="2474214"/>
          </a:xfrm>
          <a:prstGeom prst="rect">
            <a:avLst/>
          </a:prstGeom>
          <a:noFill/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1F7E04-ED77-6419-BD6D-C6F2B838D0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205155C8-06EF-4D76-B723-5863044CF28B}" type="slidenum">
              <a:rPr lang="en-US" smtClean="0"/>
              <a:pPr>
                <a:spcAft>
                  <a:spcPts val="600"/>
                </a:spcAft>
              </a:pPr>
              <a:t>3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446546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49513DD-0F7D-401E-B1A9-46CF6058B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2432" y="382025"/>
            <a:ext cx="10972800" cy="630936"/>
          </a:xfrm>
        </p:spPr>
        <p:txBody>
          <a:bodyPr/>
          <a:lstStyle/>
          <a:p>
            <a:r>
              <a:rPr lang="en-US" dirty="0">
                <a:solidFill>
                  <a:srgbClr val="2E328B"/>
                </a:solidFill>
                <a:cs typeface="Calibri"/>
              </a:rPr>
              <a:t>NCFS Insights - Presenters</a:t>
            </a:r>
            <a:endParaRPr lang="en-US" dirty="0">
              <a:solidFill>
                <a:srgbClr val="2E328B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A717DAC1-62D0-AA3C-90D5-5451E3B89C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51131" y="1162717"/>
            <a:ext cx="720907" cy="1272957"/>
          </a:xfrm>
          <a:prstGeom prst="rect">
            <a:avLst/>
          </a:prstGeom>
        </p:spPr>
      </p:pic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E8AF4A42-1963-0A49-F76F-C105EBEC55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066799" y="1173054"/>
            <a:ext cx="4479811" cy="125033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28575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4F014A1-3EA9-EEF0-A45D-B043830384D3}"/>
              </a:ext>
            </a:extLst>
          </p:cNvPr>
          <p:cNvSpPr txBox="1"/>
          <p:nvPr/>
        </p:nvSpPr>
        <p:spPr>
          <a:xfrm>
            <a:off x="6024031" y="1341022"/>
            <a:ext cx="2286000" cy="914400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dirty="0">
                <a:solidFill>
                  <a:schemeClr val="accent5">
                    <a:lumMod val="50000"/>
                  </a:schemeClr>
                </a:solidFill>
                <a:cs typeface="Calibri"/>
              </a:rPr>
              <a:t>Taylor Brumbeloe</a:t>
            </a:r>
            <a:endParaRPr lang="en-US" dirty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en-US" dirty="0">
                <a:solidFill>
                  <a:schemeClr val="accent5">
                    <a:lumMod val="50000"/>
                  </a:schemeClr>
                </a:solidFill>
              </a:rPr>
              <a:t>NCFS Deputy State </a:t>
            </a:r>
            <a:br>
              <a:rPr lang="en-US" dirty="0">
                <a:solidFill>
                  <a:schemeClr val="accent5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accent5">
                    <a:lumMod val="50000"/>
                  </a:schemeClr>
                </a:solidFill>
              </a:rPr>
              <a:t>Controller</a:t>
            </a:r>
            <a:endParaRPr lang="en-US" dirty="0">
              <a:solidFill>
                <a:schemeClr val="accent5">
                  <a:lumMod val="50000"/>
                </a:schemeClr>
              </a:solidFill>
              <a:cs typeface="Calibri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A6B56A4-7703-D52E-74D7-F5EF44F2A4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0013" y="2769682"/>
            <a:ext cx="794482" cy="1242974"/>
          </a:xfrm>
          <a:prstGeom prst="rect">
            <a:avLst/>
          </a:prstGeom>
        </p:spPr>
      </p:pic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9CA1C689-E336-CF9E-BCFD-160C184163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10000" y="2778390"/>
            <a:ext cx="4516687" cy="123895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28575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25" name="Picture 8">
            <a:extLst>
              <a:ext uri="{FF2B5EF4-FFF2-40B4-BE49-F238E27FC236}">
                <a16:creationId xmlns:a16="http://schemas.microsoft.com/office/drawing/2014/main" id="{A56C9EC7-E3D5-B5B2-35D2-6514A33DE8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113" b="1113"/>
          <a:stretch/>
        </p:blipFill>
        <p:spPr>
          <a:xfrm>
            <a:off x="1010000" y="2806128"/>
            <a:ext cx="1205091" cy="1179486"/>
          </a:xfrm>
          <a:prstGeom prst="ellipse">
            <a:avLst/>
          </a:prstGeom>
          <a:ln w="38100">
            <a:solidFill>
              <a:schemeClr val="accent5">
                <a:lumMod val="50000"/>
              </a:schemeClr>
            </a:solidFill>
          </a:ln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C8A208DA-B864-9206-E8D4-754EC3246B44}"/>
              </a:ext>
            </a:extLst>
          </p:cNvPr>
          <p:cNvSpPr txBox="1"/>
          <p:nvPr/>
        </p:nvSpPr>
        <p:spPr>
          <a:xfrm>
            <a:off x="2831195" y="2940667"/>
            <a:ext cx="2286000" cy="914400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dirty="0">
                <a:solidFill>
                  <a:schemeClr val="accent5">
                    <a:lumMod val="50000"/>
                  </a:schemeClr>
                </a:solidFill>
              </a:rPr>
              <a:t>Lena Andrade </a:t>
            </a:r>
          </a:p>
          <a:p>
            <a:r>
              <a:rPr lang="en-US" dirty="0">
                <a:solidFill>
                  <a:schemeClr val="accent5">
                    <a:lumMod val="50000"/>
                  </a:schemeClr>
                </a:solidFill>
              </a:rPr>
              <a:t>NCFS Engagement </a:t>
            </a:r>
            <a:br>
              <a:rPr lang="en-US" dirty="0">
                <a:solidFill>
                  <a:schemeClr val="accent5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accent5">
                    <a:lumMod val="50000"/>
                  </a:schemeClr>
                </a:solidFill>
              </a:rPr>
              <a:t>Lead</a:t>
            </a:r>
            <a:endParaRPr lang="en-US" dirty="0">
              <a:solidFill>
                <a:schemeClr val="accent5">
                  <a:lumMod val="50000"/>
                </a:schemeClr>
              </a:solidFill>
              <a:ea typeface="Calibri"/>
              <a:cs typeface="Calibri"/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8F1D0990-92FC-8F57-DE36-B46FC5BB94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24499" y="2833214"/>
            <a:ext cx="734106" cy="1245315"/>
          </a:xfrm>
          <a:prstGeom prst="rect">
            <a:avLst/>
          </a:prstGeom>
        </p:spPr>
      </p:pic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E959D5BE-CFC4-3D46-FE23-B7F75EDD2F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527999" y="2835569"/>
            <a:ext cx="4561836" cy="122318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28575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6C3FFB1-FD3F-8B5B-A8E3-B4784FE4EBF1}"/>
              </a:ext>
            </a:extLst>
          </p:cNvPr>
          <p:cNvSpPr txBox="1"/>
          <p:nvPr/>
        </p:nvSpPr>
        <p:spPr>
          <a:xfrm>
            <a:off x="8546610" y="2994206"/>
            <a:ext cx="1432828" cy="923330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dirty="0">
                <a:solidFill>
                  <a:schemeClr val="accent5">
                    <a:lumMod val="50000"/>
                  </a:schemeClr>
                </a:solidFill>
                <a:cs typeface="Calibri"/>
              </a:rPr>
              <a:t>Jan Prevo</a:t>
            </a:r>
          </a:p>
          <a:p>
            <a:r>
              <a:rPr lang="en-US" dirty="0">
                <a:solidFill>
                  <a:schemeClr val="accent5">
                    <a:lumMod val="50000"/>
                  </a:schemeClr>
                </a:solidFill>
                <a:cs typeface="Calibri"/>
              </a:rPr>
              <a:t>NCFS Project </a:t>
            </a:r>
            <a:br>
              <a:rPr lang="en-US" dirty="0">
                <a:solidFill>
                  <a:schemeClr val="accent5">
                    <a:lumMod val="50000"/>
                  </a:schemeClr>
                </a:solidFill>
                <a:cs typeface="Calibri"/>
              </a:rPr>
            </a:br>
            <a:r>
              <a:rPr lang="en-US" dirty="0">
                <a:solidFill>
                  <a:schemeClr val="accent5">
                    <a:lumMod val="50000"/>
                  </a:schemeClr>
                </a:solidFill>
                <a:cs typeface="Calibri"/>
              </a:rPr>
              <a:t>Coordinator</a:t>
            </a:r>
          </a:p>
        </p:txBody>
      </p:sp>
      <p:pic>
        <p:nvPicPr>
          <p:cNvPr id="3" name="Picture 5">
            <a:extLst>
              <a:ext uri="{FF2B5EF4-FFF2-40B4-BE49-F238E27FC236}">
                <a16:creationId xmlns:a16="http://schemas.microsoft.com/office/drawing/2014/main" id="{E82FDDA5-90B0-D954-23EB-102A2082A3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1762" b="1762"/>
          <a:stretch>
            <a:fillRect/>
          </a:stretch>
        </p:blipFill>
        <p:spPr>
          <a:xfrm>
            <a:off x="6560796" y="2858234"/>
            <a:ext cx="1229898" cy="1200522"/>
          </a:xfrm>
          <a:prstGeom prst="ellipse">
            <a:avLst/>
          </a:prstGeom>
          <a:ln w="28575">
            <a:solidFill>
              <a:schemeClr val="accent5">
                <a:lumMod val="50000"/>
              </a:schemeClr>
            </a:solidFill>
          </a:ln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73F8AF43-4150-3BE7-8AF5-23F0349854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60523" y="1179110"/>
            <a:ext cx="1211772" cy="1250337"/>
          </a:xfrm>
          <a:prstGeom prst="flowChartConnector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F3C1C065-1EF5-BCC1-E282-85AE43A14F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0000" y="4473861"/>
            <a:ext cx="794482" cy="1242974"/>
          </a:xfrm>
          <a:prstGeom prst="rect">
            <a:avLst/>
          </a:prstGeom>
        </p:spPr>
      </p:pic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AEB834D7-3083-F68E-CEC9-B033DB8950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49987" y="4482569"/>
            <a:ext cx="4516687" cy="123895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28575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39" name="Picture 8">
            <a:extLst>
              <a:ext uri="{FF2B5EF4-FFF2-40B4-BE49-F238E27FC236}">
                <a16:creationId xmlns:a16="http://schemas.microsoft.com/office/drawing/2014/main" id="{3DF19FB5-8CD0-0DEA-6C5B-2D460C68A9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82" r="82"/>
          <a:stretch/>
        </p:blipFill>
        <p:spPr>
          <a:xfrm>
            <a:off x="1049987" y="4510307"/>
            <a:ext cx="1205091" cy="1179486"/>
          </a:xfrm>
          <a:prstGeom prst="ellipse">
            <a:avLst/>
          </a:prstGeom>
          <a:ln w="38100">
            <a:solidFill>
              <a:schemeClr val="accent5">
                <a:lumMod val="50000"/>
              </a:schemeClr>
            </a:solidFill>
          </a:ln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53758C2C-6DE6-2CD2-657F-B3CEF1FE30A6}"/>
              </a:ext>
            </a:extLst>
          </p:cNvPr>
          <p:cNvSpPr txBox="1"/>
          <p:nvPr/>
        </p:nvSpPr>
        <p:spPr>
          <a:xfrm>
            <a:off x="2831195" y="4638384"/>
            <a:ext cx="2339023" cy="9233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dirty="0">
                <a:solidFill>
                  <a:schemeClr val="accent5">
                    <a:lumMod val="50000"/>
                  </a:schemeClr>
                </a:solidFill>
              </a:rPr>
              <a:t>Thurman Ross</a:t>
            </a:r>
          </a:p>
          <a:p>
            <a:r>
              <a:rPr lang="en-US" dirty="0">
                <a:solidFill>
                  <a:schemeClr val="accent5">
                    <a:lumMod val="50000"/>
                  </a:schemeClr>
                </a:solidFill>
              </a:rPr>
              <a:t>Systems Application </a:t>
            </a:r>
          </a:p>
          <a:p>
            <a:r>
              <a:rPr lang="en-US" dirty="0">
                <a:solidFill>
                  <a:schemeClr val="accent5">
                    <a:lumMod val="50000"/>
                  </a:schemeClr>
                </a:solidFill>
              </a:rPr>
              <a:t>Manager</a:t>
            </a:r>
            <a:endParaRPr lang="en-US" dirty="0">
              <a:solidFill>
                <a:schemeClr val="accent5">
                  <a:lumMod val="50000"/>
                </a:schemeClr>
              </a:solidFill>
              <a:ea typeface="Calibri"/>
              <a:cs typeface="Calibri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5D8AB55C-8E63-3054-0464-F8291B2193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24499" y="4465153"/>
            <a:ext cx="794482" cy="1242974"/>
          </a:xfrm>
          <a:prstGeom prst="rect">
            <a:avLst/>
          </a:prstGeom>
        </p:spPr>
      </p:pic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7B2D8F70-4249-926B-D495-CC6205E95A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564486" y="4473861"/>
            <a:ext cx="4516687" cy="123895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28575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29" name="Picture 8">
            <a:extLst>
              <a:ext uri="{FF2B5EF4-FFF2-40B4-BE49-F238E27FC236}">
                <a16:creationId xmlns:a16="http://schemas.microsoft.com/office/drawing/2014/main" id="{20377980-442D-33E5-C6A4-02700837A2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062" b="1062"/>
          <a:stretch/>
        </p:blipFill>
        <p:spPr>
          <a:xfrm>
            <a:off x="6564486" y="4501599"/>
            <a:ext cx="1205091" cy="1179486"/>
          </a:xfrm>
          <a:prstGeom prst="ellipse">
            <a:avLst/>
          </a:prstGeom>
          <a:ln w="38100">
            <a:solidFill>
              <a:schemeClr val="accent5">
                <a:lumMod val="50000"/>
              </a:schemeClr>
            </a:solidFill>
          </a:ln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FC6BC6B2-81D1-4CCD-ED26-340AB3754459}"/>
              </a:ext>
            </a:extLst>
          </p:cNvPr>
          <p:cNvSpPr txBox="1"/>
          <p:nvPr/>
        </p:nvSpPr>
        <p:spPr>
          <a:xfrm>
            <a:off x="8495377" y="4776884"/>
            <a:ext cx="1859996" cy="646331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dirty="0">
                <a:solidFill>
                  <a:schemeClr val="accent5">
                    <a:lumMod val="50000"/>
                  </a:schemeClr>
                </a:solidFill>
              </a:rPr>
              <a:t>Laura Lee</a:t>
            </a:r>
          </a:p>
          <a:p>
            <a:r>
              <a:rPr lang="en-US" dirty="0">
                <a:solidFill>
                  <a:schemeClr val="accent5">
                    <a:lumMod val="50000"/>
                  </a:schemeClr>
                </a:solidFill>
              </a:rPr>
              <a:t>OSC Training Lead</a:t>
            </a:r>
            <a:endParaRPr lang="en-US" dirty="0">
              <a:solidFill>
                <a:schemeClr val="accent5">
                  <a:lumMod val="50000"/>
                </a:schemeClr>
              </a:solidFill>
              <a:ea typeface="Calibri"/>
              <a:cs typeface="Calibri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78A275E-933A-4220-871D-088652DB62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4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791733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512F40-5314-4C92-B98C-D74FC017EB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9506" y="372549"/>
            <a:ext cx="10969101" cy="634219"/>
          </a:xfrm>
        </p:spPr>
        <p:txBody>
          <a:bodyPr/>
          <a:lstStyle/>
          <a:p>
            <a:r>
              <a:rPr lang="en-US" dirty="0">
                <a:solidFill>
                  <a:srgbClr val="2E328B"/>
                </a:solidFill>
                <a:cs typeface="Calibri"/>
              </a:rPr>
              <a:t>NCFS Highlight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BBB265D-C908-5A58-8044-2C18C7CCFB44}"/>
              </a:ext>
            </a:extLst>
          </p:cNvPr>
          <p:cNvSpPr txBox="1"/>
          <p:nvPr/>
        </p:nvSpPr>
        <p:spPr>
          <a:xfrm>
            <a:off x="3447625" y="4251416"/>
            <a:ext cx="4991121" cy="9233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Taylor Brumbelo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Deputy State Controller, NCFS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70C0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7C7A680-A0A2-46E4-81B4-0523D4BE3DD5}"/>
              </a:ext>
            </a:extLst>
          </p:cNvPr>
          <p:cNvSpPr txBox="1"/>
          <p:nvPr/>
        </p:nvSpPr>
        <p:spPr>
          <a:xfrm>
            <a:off x="2532081" y="5225273"/>
            <a:ext cx="6993082" cy="1332358"/>
          </a:xfrm>
          <a:prstGeom prst="rect">
            <a:avLst/>
          </a:prstGeom>
          <a:noFill/>
        </p:spPr>
        <p:txBody>
          <a:bodyPr wrap="square" lIns="91440" tIns="45720" rIns="91440" bIns="45720" anchor="t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North Carolina Financial Syste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NC Office of the State Controller - OSC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090EF30-4BD5-4989-8BBA-7A2EC017A6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1864445" y="5035225"/>
            <a:ext cx="8766928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F2CE900B-A071-207B-6394-442FF8D02B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47782" y="132791"/>
            <a:ext cx="2007158" cy="87397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7953733-06EA-A759-C0CE-F69B48B6F1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59873" y="5841206"/>
            <a:ext cx="1943100" cy="84772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8B2B9AA-2ACD-966A-A871-E789210A68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2734" t="13632" r="6142" b="13115"/>
          <a:stretch/>
        </p:blipFill>
        <p:spPr>
          <a:xfrm>
            <a:off x="4830479" y="1796878"/>
            <a:ext cx="2225414" cy="229428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BEC7AD-B2A6-4E9D-84AD-F786F31F3E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5155C8-06EF-4D76-B723-5863044CF28B}" type="slidenum">
              <a:rPr kumimoji="0" lang="en-US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304934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B8981C-00FD-BDF8-7F26-5C822A747D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B26881-BBE2-4896-EC36-90B2E22A35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E328B"/>
                </a:solidFill>
                <a:ea typeface="Calibri"/>
                <a:cs typeface="Calibri"/>
              </a:rPr>
              <a:t>2025 Highlights</a:t>
            </a:r>
            <a:endParaRPr lang="en-US" dirty="0">
              <a:solidFill>
                <a:srgbClr val="2E328B"/>
              </a:solidFill>
              <a:highlight>
                <a:srgbClr val="FFFF00"/>
              </a:highlight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1975949-8797-CB35-A56F-3C3515BE5B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38C83D9-376A-FDD4-75FB-B229929ABC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209206" y="1770182"/>
            <a:ext cx="1965080" cy="1383323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B6976FA-435A-E0E1-8105-7E71B111D83C}"/>
              </a:ext>
            </a:extLst>
          </p:cNvPr>
          <p:cNvSpPr txBox="1"/>
          <p:nvPr/>
        </p:nvSpPr>
        <p:spPr>
          <a:xfrm>
            <a:off x="1120549" y="1952759"/>
            <a:ext cx="214239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4 New Agency Setups 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in NCFS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303003F7-9229-EA63-7437-F9DA71A2E0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509126" y="1770184"/>
            <a:ext cx="1965080" cy="1383323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62267BF-C264-A820-DF1A-F178E866C357}"/>
              </a:ext>
            </a:extLst>
          </p:cNvPr>
          <p:cNvSpPr txBox="1"/>
          <p:nvPr/>
        </p:nvSpPr>
        <p:spPr>
          <a:xfrm>
            <a:off x="3630019" y="1830068"/>
            <a:ext cx="172329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solidFill>
                  <a:schemeClr val="bg1"/>
                </a:solidFill>
              </a:rPr>
              <a:t>New Manufacturing Module Added to NCFS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170D9BF8-9D5B-F5D1-B9FA-2900C66457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809046" y="1770184"/>
            <a:ext cx="1965080" cy="1383323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EF1CD11-772E-0DC1-81DE-1669999A39FF}"/>
              </a:ext>
            </a:extLst>
          </p:cNvPr>
          <p:cNvSpPr txBox="1"/>
          <p:nvPr/>
        </p:nvSpPr>
        <p:spPr>
          <a:xfrm>
            <a:off x="5973667" y="1861680"/>
            <a:ext cx="167736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solidFill>
                  <a:schemeClr val="bg1"/>
                </a:solidFill>
              </a:rPr>
              <a:t>3 New Agencies on Accounts Receivable Module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272C0428-79D3-1529-FF2E-B9B203F75A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078926" y="1770184"/>
            <a:ext cx="1965080" cy="1383323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DC65284-4AA6-64E9-D62F-33C172D421E3}"/>
              </a:ext>
            </a:extLst>
          </p:cNvPr>
          <p:cNvSpPr txBox="1"/>
          <p:nvPr/>
        </p:nvSpPr>
        <p:spPr>
          <a:xfrm>
            <a:off x="8170512" y="2093228"/>
            <a:ext cx="17819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solidFill>
                  <a:schemeClr val="bg1"/>
                </a:solidFill>
              </a:rPr>
              <a:t>New &amp; Improved Escheats Process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E2DAD6DC-781A-3649-B0C7-FC26AB7A5B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280402" y="3528645"/>
            <a:ext cx="1965080" cy="1383323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35BDB29-B794-8A42-B01C-8E8BD162B953}"/>
              </a:ext>
            </a:extLst>
          </p:cNvPr>
          <p:cNvSpPr txBox="1"/>
          <p:nvPr/>
        </p:nvSpPr>
        <p:spPr>
          <a:xfrm>
            <a:off x="2354403" y="3897139"/>
            <a:ext cx="181707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Fiscal Year End Success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452A9102-A219-5323-D65A-1CDBD45021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648463" y="3528644"/>
            <a:ext cx="1965080" cy="1383323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C8DDC8FA-17BF-74FB-A108-FB19076D2B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016524" y="3534506"/>
            <a:ext cx="1965080" cy="1383323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066BFF3B-0123-5B39-5214-FEBD60B157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384585" y="3528644"/>
            <a:ext cx="1965080" cy="1383323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27BCCBC-D13B-03E8-DA8C-DD44D53F0ACD}"/>
              </a:ext>
            </a:extLst>
          </p:cNvPr>
          <p:cNvSpPr txBox="1"/>
          <p:nvPr/>
        </p:nvSpPr>
        <p:spPr>
          <a:xfrm>
            <a:off x="4708203" y="3758639"/>
            <a:ext cx="184559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NCFS Information &amp; Training Session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3A515EF-210A-6B53-654A-FE1E95FD926D}"/>
              </a:ext>
            </a:extLst>
          </p:cNvPr>
          <p:cNvSpPr txBox="1"/>
          <p:nvPr/>
        </p:nvSpPr>
        <p:spPr>
          <a:xfrm>
            <a:off x="7193902" y="3758639"/>
            <a:ext cx="17261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More Efficient Supplier &amp; </a:t>
            </a:r>
            <a:r>
              <a:rPr lang="en-US" dirty="0" err="1">
                <a:solidFill>
                  <a:schemeClr val="bg1"/>
                </a:solidFill>
              </a:rPr>
              <a:t>ePay</a:t>
            </a:r>
            <a:r>
              <a:rPr lang="en-US" dirty="0">
                <a:solidFill>
                  <a:schemeClr val="bg1"/>
                </a:solidFill>
              </a:rPr>
              <a:t> Setup Proces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8EB0E24-7EB3-586B-54F2-58B55E6D216D}"/>
              </a:ext>
            </a:extLst>
          </p:cNvPr>
          <p:cNvSpPr txBox="1"/>
          <p:nvPr/>
        </p:nvSpPr>
        <p:spPr>
          <a:xfrm>
            <a:off x="9450904" y="3758639"/>
            <a:ext cx="183244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New Interfaces To and From NCF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009534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C17EA6-C5CE-16B0-2D2D-218369FAB6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D12FD7-6D44-43FA-B646-9DB2F348A5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E328B"/>
                </a:solidFill>
                <a:ea typeface="Calibri"/>
                <a:cs typeface="Calibri"/>
              </a:rPr>
              <a:t>2026 Goals	</a:t>
            </a:r>
            <a:endParaRPr lang="en-US" dirty="0">
              <a:solidFill>
                <a:srgbClr val="2E328B"/>
              </a:solidFill>
              <a:highlight>
                <a:srgbClr val="FFFF00"/>
              </a:highlight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2F87505-3AE4-9CDD-949D-1F6C082C45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7</a:t>
            </a:fld>
            <a:endParaRPr lang="en-US"/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45967800-2A65-A1B1-017F-397FB4B1BF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84160216"/>
              </p:ext>
            </p:extLst>
          </p:nvPr>
        </p:nvGraphicFramePr>
        <p:xfrm>
          <a:off x="2418860" y="1158937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080983D5-5E24-31FF-A9F3-3A9350737647}"/>
              </a:ext>
            </a:extLst>
          </p:cNvPr>
          <p:cNvSpPr txBox="1"/>
          <p:nvPr/>
        </p:nvSpPr>
        <p:spPr>
          <a:xfrm>
            <a:off x="4441372" y="2519265"/>
            <a:ext cx="184746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Communica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0ED63F9-EF9E-9131-058F-58E200848243}"/>
              </a:ext>
            </a:extLst>
          </p:cNvPr>
          <p:cNvSpPr txBox="1"/>
          <p:nvPr/>
        </p:nvSpPr>
        <p:spPr>
          <a:xfrm>
            <a:off x="6730482" y="2519265"/>
            <a:ext cx="184746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Engagemen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2134873-DC6C-0E4E-E692-BD7D3C08F342}"/>
              </a:ext>
            </a:extLst>
          </p:cNvPr>
          <p:cNvSpPr txBox="1"/>
          <p:nvPr/>
        </p:nvSpPr>
        <p:spPr>
          <a:xfrm>
            <a:off x="4441371" y="4733491"/>
            <a:ext cx="184746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Feedback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CBE6AE9-0026-8CA7-9CF0-474EE28141F3}"/>
              </a:ext>
            </a:extLst>
          </p:cNvPr>
          <p:cNvSpPr txBox="1"/>
          <p:nvPr/>
        </p:nvSpPr>
        <p:spPr>
          <a:xfrm>
            <a:off x="6727372" y="4733491"/>
            <a:ext cx="184746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Traini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503686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A0A512-A06D-71E7-74C5-3764F7A188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F2087C-A882-5346-164F-3C31CF64DF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E328B"/>
                </a:solidFill>
                <a:ea typeface="Calibri"/>
                <a:cs typeface="Calibri"/>
              </a:rPr>
              <a:t>Icebreaker</a:t>
            </a:r>
            <a:endParaRPr lang="en-US" dirty="0">
              <a:solidFill>
                <a:srgbClr val="2E328B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C0980CB-09A9-917D-F92E-4D0C3419EA8A}"/>
              </a:ext>
            </a:extLst>
          </p:cNvPr>
          <p:cNvSpPr txBox="1"/>
          <p:nvPr/>
        </p:nvSpPr>
        <p:spPr>
          <a:xfrm>
            <a:off x="1138072" y="1427107"/>
            <a:ext cx="9543642" cy="120032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 dirty="0">
                <a:ea typeface="Calibri"/>
                <a:cs typeface="Calibri"/>
              </a:rPr>
              <a:t>Polling Question:</a:t>
            </a:r>
            <a:r>
              <a:rPr lang="en-US" sz="2400" dirty="0">
                <a:ea typeface="Calibri"/>
                <a:cs typeface="Calibri"/>
              </a:rPr>
              <a:t> </a:t>
            </a:r>
            <a:endParaRPr lang="en-US" dirty="0"/>
          </a:p>
          <a:p>
            <a:endParaRPr lang="en-US" sz="2400" dirty="0">
              <a:ea typeface="Calibri"/>
              <a:cs typeface="Calibri"/>
            </a:endParaRPr>
          </a:p>
          <a:p>
            <a:r>
              <a:rPr lang="en-US" sz="2400" dirty="0">
                <a:ea typeface="Calibri"/>
                <a:cs typeface="Calibri"/>
              </a:rPr>
              <a:t>How do you communicate NCFS information to your agency’s end users?</a:t>
            </a:r>
            <a:endParaRPr lang="en-US" dirty="0">
              <a:ea typeface="Calibri"/>
              <a:cs typeface="Calibri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0F8CA58-54C6-970A-0AE8-56A6A843BAFD}"/>
              </a:ext>
            </a:extLst>
          </p:cNvPr>
          <p:cNvSpPr txBox="1"/>
          <p:nvPr/>
        </p:nvSpPr>
        <p:spPr>
          <a:xfrm>
            <a:off x="2113935" y="2753032"/>
            <a:ext cx="72562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2E328B"/>
                </a:solidFill>
              </a:rPr>
              <a:t>(Results shown at the end of the presentation.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6722E56-946B-EF1F-CDFA-6C4998B5C6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8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269310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512F40-5314-4C92-B98C-D74FC017EB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9506" y="356679"/>
            <a:ext cx="10969101" cy="634219"/>
          </a:xfrm>
        </p:spPr>
        <p:txBody>
          <a:bodyPr/>
          <a:lstStyle/>
          <a:p>
            <a:r>
              <a:rPr lang="en-US" dirty="0">
                <a:solidFill>
                  <a:srgbClr val="2E328B"/>
                </a:solidFill>
                <a:cs typeface="Calibri"/>
              </a:rPr>
              <a:t>NCFS Communication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BBB265D-C908-5A58-8044-2C18C7CCFB44}"/>
              </a:ext>
            </a:extLst>
          </p:cNvPr>
          <p:cNvSpPr txBox="1"/>
          <p:nvPr/>
        </p:nvSpPr>
        <p:spPr>
          <a:xfrm>
            <a:off x="3447625" y="4251416"/>
            <a:ext cx="4991121" cy="9233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Jan Prev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rgbClr val="0070C0">
                    <a:lumMod val="50000"/>
                  </a:srgbClr>
                </a:solidFill>
                <a:latin typeface="Calibri" panose="020F0502020204030204"/>
                <a:cs typeface="Calibri"/>
              </a:rPr>
              <a:t>NCFS Project Coordinator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70C0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7C7A680-A0A2-46E4-81B4-0523D4BE3DD5}"/>
              </a:ext>
            </a:extLst>
          </p:cNvPr>
          <p:cNvSpPr txBox="1"/>
          <p:nvPr/>
        </p:nvSpPr>
        <p:spPr>
          <a:xfrm>
            <a:off x="2532081" y="5225273"/>
            <a:ext cx="6993082" cy="1332358"/>
          </a:xfrm>
          <a:prstGeom prst="rect">
            <a:avLst/>
          </a:prstGeom>
          <a:noFill/>
        </p:spPr>
        <p:txBody>
          <a:bodyPr wrap="square" lIns="91440" tIns="45720" rIns="91440" bIns="45720" anchor="t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North Carolina Financial Syste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NC Office of the State Controller - OSC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090EF30-4BD5-4989-8BBA-7A2EC017A6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1864445" y="5035225"/>
            <a:ext cx="8766928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BEC7AD-B2A6-4E9D-84AD-F786F31F3E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5155C8-06EF-4D76-B723-5863044CF28B}" type="slidenum">
              <a:rPr kumimoji="0" lang="en-US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2CE900B-A071-207B-6394-442FF8D02B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47782" y="132791"/>
            <a:ext cx="2007158" cy="87397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7953733-06EA-A759-C0CE-F69B48B6F1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59873" y="5841206"/>
            <a:ext cx="1943100" cy="84772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8B2B9AA-2ACD-966A-A871-E789210A68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3" r="423"/>
          <a:stretch/>
        </p:blipFill>
        <p:spPr>
          <a:xfrm>
            <a:off x="4830479" y="1796878"/>
            <a:ext cx="2225414" cy="229428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037075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DESIGN_ID_1_OFFICE THEME" val="UzNwnbBn"/>
  <p:tag name="ARTICULATE_DESIGN_ID_CUSTOM DESIGN" val="lfPEGbN6"/>
  <p:tag name="ARTICULATE_DESIGN_ID_3_OFFICE THEME" val="GKNt3MHT"/>
  <p:tag name="ARTICULATE_SLIDE_COUNT" val="28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E328B"/>
      </a:accent1>
      <a:accent2>
        <a:srgbClr val="972200"/>
      </a:accent2>
      <a:accent3>
        <a:srgbClr val="449E46"/>
      </a:accent3>
      <a:accent4>
        <a:srgbClr val="FAD803"/>
      </a:accent4>
      <a:accent5>
        <a:srgbClr val="0070C0"/>
      </a:accent5>
      <a:accent6>
        <a:srgbClr val="98CB3A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CFS_Template_FINAL" id="{7D49D150-7792-402F-921A-D4112A88735A}" vid="{8C3F12D2-67B9-4719-87CF-9AA30E2EF7F4}"/>
    </a:ext>
  </a:extLst>
</a:theme>
</file>

<file path=ppt/theme/theme2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E328B"/>
      </a:accent1>
      <a:accent2>
        <a:srgbClr val="972200"/>
      </a:accent2>
      <a:accent3>
        <a:srgbClr val="449E46"/>
      </a:accent3>
      <a:accent4>
        <a:srgbClr val="FAD803"/>
      </a:accent4>
      <a:accent5>
        <a:srgbClr val="0070C0"/>
      </a:accent5>
      <a:accent6>
        <a:srgbClr val="98CB3A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CFS Portal Naming Contest" id="{D63A938A-2CC1-4E51-8013-979E14F54E34}" vid="{19FDFDBE-DD94-41AF-8999-FAF6340CB8EA}"/>
    </a:ext>
  </a:extLst>
</a:theme>
</file>

<file path=ppt/theme/theme3.xml><?xml version="1.0" encoding="utf-8"?>
<a:theme xmlns:a="http://schemas.openxmlformats.org/drawingml/2006/main" name="3_Office Theme">
  <a:themeElements>
    <a:clrScheme name="Custom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E328B"/>
      </a:accent1>
      <a:accent2>
        <a:srgbClr val="972200"/>
      </a:accent2>
      <a:accent3>
        <a:srgbClr val="449E46"/>
      </a:accent3>
      <a:accent4>
        <a:srgbClr val="FAD803"/>
      </a:accent4>
      <a:accent5>
        <a:srgbClr val="0070C0"/>
      </a:accent5>
      <a:accent6>
        <a:srgbClr val="98CB3A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CFS_Template_FINAL" id="{711A3E18-2229-4062-B693-93773C9F3570}" vid="{D04656D6-CC52-4751-B34D-F0BE9F61827F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CFA4F08ADB9124B980220F50EFDEE06" ma:contentTypeVersion="26" ma:contentTypeDescription="Create a new document." ma:contentTypeScope="" ma:versionID="2499be5c2e8f42dd0f6c0efbc9ef17c5">
  <xsd:schema xmlns:xsd="http://www.w3.org/2001/XMLSchema" xmlns:xs="http://www.w3.org/2001/XMLSchema" xmlns:p="http://schemas.microsoft.com/office/2006/metadata/properties" xmlns:ns2="7db17633-6ab9-4c77-a901-7160f9eb8959" xmlns:ns3="563f23cf-f5d7-460c-8da3-480e214b7c18" targetNamespace="http://schemas.microsoft.com/office/2006/metadata/properties" ma:root="true" ma:fieldsID="59b36d0a26a5ab2021d88856669c1bfd" ns2:_="" ns3:_="">
    <xsd:import namespace="7db17633-6ab9-4c77-a901-7160f9eb8959"/>
    <xsd:import namespace="563f23cf-f5d7-460c-8da3-480e214b7c18"/>
    <xsd:element name="properties">
      <xsd:complexType>
        <xsd:sequence>
          <xsd:element name="documentManagement">
            <xsd:complexType>
              <xsd:all>
                <xsd:element ref="ns2:SpecStatus" minOccurs="0"/>
                <xsd:element ref="ns3:SharedWithUsers" minOccurs="0"/>
                <xsd:element ref="ns3:SharedWithDetails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3:_ip_UnifiedCompliancePolicyProperties" minOccurs="0"/>
                <xsd:element ref="ns3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b17633-6ab9-4c77-a901-7160f9eb8959" elementFormDefault="qualified">
    <xsd:import namespace="http://schemas.microsoft.com/office/2006/documentManagement/types"/>
    <xsd:import namespace="http://schemas.microsoft.com/office/infopath/2007/PartnerControls"/>
    <xsd:element name="SpecStatus" ma:index="6" nillable="true" ma:displayName="Spec Status" ma:description="Spec Status" ma:format="Dropdown" ma:internalName="SpecStatus" ma:readOnly="false">
      <xsd:simpleType>
        <xsd:restriction base="dms:Choice">
          <xsd:enumeration value="Func Spec"/>
          <xsd:enumeration value="Tech Spec"/>
          <xsd:enumeration value="Build"/>
          <xsd:enumeration value="Accepted"/>
        </xsd:restriction>
      </xsd:simple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d73cfa9a-e889-43e5-9e7e-099e1654cb8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63f23cf-f5d7-460c-8da3-480e214b7c18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SearchPeopleOnly="false" ma:SharePointGroup="0" ma:internalName="SharedWithUsers" ma:readOnly="true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2e74514b-3e93-461d-971a-765a50073c67}" ma:internalName="TaxCatchAll" ma:showField="CatchAllData" ma:web="563f23cf-f5d7-460c-8da3-480e214b7c1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_ip_UnifiedCompliancePolicyProperties" ma:index="24" nillable="true" ma:displayName="Unified Compliance Policy Properties" ma:internalName="_ip_UnifiedCompliancePolicyProperties" ma:readOnly="false">
      <xsd:simpleType>
        <xsd:restriction base="dms:Note"/>
      </xsd:simpleType>
    </xsd:element>
    <xsd:element name="_ip_UnifiedCompliancePolicyUIAction" ma:index="25" nillable="true" ma:displayName="Unified Compliance Policy UI Action" ma:hidden="true" ma:internalName="_ip_UnifiedCompliancePolicyUIAction" ma:readOnly="fals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7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563f23cf-f5d7-460c-8da3-480e214b7c18" xsi:nil="true"/>
    <_ip_UnifiedCompliancePolicyProperties xmlns="563f23cf-f5d7-460c-8da3-480e214b7c18" xsi:nil="true"/>
    <SpecStatus xmlns="7db17633-6ab9-4c77-a901-7160f9eb8959" xsi:nil="true"/>
    <lcf76f155ced4ddcb4097134ff3c332f xmlns="7db17633-6ab9-4c77-a901-7160f9eb8959">
      <Terms xmlns="http://schemas.microsoft.com/office/infopath/2007/PartnerControls"/>
    </lcf76f155ced4ddcb4097134ff3c332f>
    <TaxCatchAll xmlns="563f23cf-f5d7-460c-8da3-480e214b7c18" xsi:nil="true"/>
  </documentManagement>
</p:properties>
</file>

<file path=customXml/itemProps1.xml><?xml version="1.0" encoding="utf-8"?>
<ds:datastoreItem xmlns:ds="http://schemas.openxmlformats.org/officeDocument/2006/customXml" ds:itemID="{55E2A67D-AE2D-4ACD-B962-2FC7CE15A82A}">
  <ds:schemaRefs>
    <ds:schemaRef ds:uri="http://schemas.microsoft.com/office/2006/metadata/customXsn"/>
  </ds:schemaRefs>
</ds:datastoreItem>
</file>

<file path=customXml/itemProps2.xml><?xml version="1.0" encoding="utf-8"?>
<ds:datastoreItem xmlns:ds="http://schemas.openxmlformats.org/officeDocument/2006/customXml" ds:itemID="{BB02B9B5-0C2A-4312-9613-933061D1E1B9}">
  <ds:schemaRefs>
    <ds:schemaRef ds:uri="563f23cf-f5d7-460c-8da3-480e214b7c18"/>
    <ds:schemaRef ds:uri="7db17633-6ab9-4c77-a901-7160f9eb89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D1CE7F15-6DE0-4E85-96D3-36EB5EB1B744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B0A58BFD-D85A-4ADE-B62F-A3F5667216B0}">
  <ds:schemaRefs>
    <ds:schemaRef ds:uri="563f23cf-f5d7-460c-8da3-480e214b7c18"/>
    <ds:schemaRef ds:uri="7db17633-6ab9-4c77-a901-7160f9eb89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CFS_Template_FINAL</Template>
  <TotalTime>246</TotalTime>
  <Words>1873</Words>
  <Application>Microsoft Office PowerPoint</Application>
  <PresentationFormat>Widescreen</PresentationFormat>
  <Paragraphs>325</Paragraphs>
  <Slides>28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40" baseType="lpstr">
      <vt:lpstr>Aptos</vt:lpstr>
      <vt:lpstr>Arial</vt:lpstr>
      <vt:lpstr>Calibri</vt:lpstr>
      <vt:lpstr>Calibri,Sans-Serif</vt:lpstr>
      <vt:lpstr>Century Gothic</vt:lpstr>
      <vt:lpstr>Google Sans Text</vt:lpstr>
      <vt:lpstr>Symbol</vt:lpstr>
      <vt:lpstr>Wingdings</vt:lpstr>
      <vt:lpstr>1_Office Theme</vt:lpstr>
      <vt:lpstr>1_Office Theme</vt:lpstr>
      <vt:lpstr>3_Office Theme</vt:lpstr>
      <vt:lpstr>think-cell Slide</vt:lpstr>
      <vt:lpstr>NCFS Insights</vt:lpstr>
      <vt:lpstr>Agenda</vt:lpstr>
      <vt:lpstr>Welcome</vt:lpstr>
      <vt:lpstr>NCFS Insights - Presenters</vt:lpstr>
      <vt:lpstr>NCFS Highlights</vt:lpstr>
      <vt:lpstr>2025 Highlights</vt:lpstr>
      <vt:lpstr>2026 Goals </vt:lpstr>
      <vt:lpstr>Icebreaker</vt:lpstr>
      <vt:lpstr>NCFS Communications</vt:lpstr>
      <vt:lpstr>Website Information</vt:lpstr>
      <vt:lpstr>NCFS Resources and Help Documents</vt:lpstr>
      <vt:lpstr>Calendar </vt:lpstr>
      <vt:lpstr>NCFS Training</vt:lpstr>
      <vt:lpstr>Training Registration </vt:lpstr>
      <vt:lpstr>Training Courses &amp; Security Roles</vt:lpstr>
      <vt:lpstr>Training Updates </vt:lpstr>
      <vt:lpstr>NCFS Security</vt:lpstr>
      <vt:lpstr>OCI IAM Upgrade </vt:lpstr>
      <vt:lpstr>OCI IAM Sign In</vt:lpstr>
      <vt:lpstr>Closing</vt:lpstr>
      <vt:lpstr>What's Next?</vt:lpstr>
      <vt:lpstr>March NCFS Activities</vt:lpstr>
      <vt:lpstr>Q&amp;A</vt:lpstr>
      <vt:lpstr>Communications Icebreaker Results</vt:lpstr>
      <vt:lpstr>Communications Satisfaction Results</vt:lpstr>
      <vt:lpstr>Communications Polling Details</vt:lpstr>
      <vt:lpstr>Communications Polling Feedback</vt:lpstr>
      <vt:lpstr>Communications Polling Contac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1 User Change Readiness Survey</dc:title>
  <dc:creator>Bosman, Kelli</dc:creator>
  <cp:lastModifiedBy>April Durrence</cp:lastModifiedBy>
  <cp:revision>44</cp:revision>
  <dcterms:created xsi:type="dcterms:W3CDTF">2020-11-18T19:08:20Z</dcterms:created>
  <dcterms:modified xsi:type="dcterms:W3CDTF">2026-02-12T21:22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CFA4F08ADB9124B980220F50EFDEE06</vt:lpwstr>
  </property>
  <property fmtid="{D5CDD505-2E9C-101B-9397-08002B2CF9AE}" pid="3" name="_dlc_DocIdItemGuid">
    <vt:lpwstr>0bdb9aa9-1e67-44e0-a0d7-e25815919b2c</vt:lpwstr>
  </property>
  <property fmtid="{D5CDD505-2E9C-101B-9397-08002B2CF9AE}" pid="4" name="ArticulateGUID">
    <vt:lpwstr>0C8C4131-24D3-4909-A5E0-7472A64E5B91</vt:lpwstr>
  </property>
  <property fmtid="{D5CDD505-2E9C-101B-9397-08002B2CF9AE}" pid="5" name="ArticulatePath">
    <vt:lpwstr>Transfer Order Clarification Supporting Documentation</vt:lpwstr>
  </property>
  <property fmtid="{D5CDD505-2E9C-101B-9397-08002B2CF9AE}" pid="6" name="MediaServiceImageTags">
    <vt:lpwstr/>
  </property>
  <property fmtid="{D5CDD505-2E9C-101B-9397-08002B2CF9AE}" pid="7" name="MSIP_Label_8cf4a652-f7e0-491e-8e13-44afaf9aeba3_Enabled">
    <vt:lpwstr>true</vt:lpwstr>
  </property>
  <property fmtid="{D5CDD505-2E9C-101B-9397-08002B2CF9AE}" pid="8" name="MSIP_Label_8cf4a652-f7e0-491e-8e13-44afaf9aeba3_SetDate">
    <vt:lpwstr>2026-02-04T19:17:13Z</vt:lpwstr>
  </property>
  <property fmtid="{D5CDD505-2E9C-101B-9397-08002B2CF9AE}" pid="9" name="MSIP_Label_8cf4a652-f7e0-491e-8e13-44afaf9aeba3_Method">
    <vt:lpwstr>Standard</vt:lpwstr>
  </property>
  <property fmtid="{D5CDD505-2E9C-101B-9397-08002B2CF9AE}" pid="10" name="MSIP_Label_8cf4a652-f7e0-491e-8e13-44afaf9aeba3_Name">
    <vt:lpwstr>Anyone</vt:lpwstr>
  </property>
  <property fmtid="{D5CDD505-2E9C-101B-9397-08002B2CF9AE}" pid="11" name="MSIP_Label_8cf4a652-f7e0-491e-8e13-44afaf9aeba3_SiteId">
    <vt:lpwstr>a1f43f48-54fe-433f-9378-968b45bc6665</vt:lpwstr>
  </property>
  <property fmtid="{D5CDD505-2E9C-101B-9397-08002B2CF9AE}" pid="12" name="MSIP_Label_8cf4a652-f7e0-491e-8e13-44afaf9aeba3_ActionId">
    <vt:lpwstr>8ee7aa86-4aac-4d3b-8e48-afbf99d6900b</vt:lpwstr>
  </property>
  <property fmtid="{D5CDD505-2E9C-101B-9397-08002B2CF9AE}" pid="13" name="MSIP_Label_8cf4a652-f7e0-491e-8e13-44afaf9aeba3_ContentBits">
    <vt:lpwstr>0</vt:lpwstr>
  </property>
  <property fmtid="{D5CDD505-2E9C-101B-9397-08002B2CF9AE}" pid="14" name="MSIP_Label_8cf4a652-f7e0-491e-8e13-44afaf9aeba3_Tag">
    <vt:lpwstr>10, 3, 0, 2</vt:lpwstr>
  </property>
</Properties>
</file>